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sldIdLst>
    <p:sldId id="379" r:id="rId5"/>
    <p:sldId id="397" r:id="rId6"/>
    <p:sldId id="406" r:id="rId7"/>
    <p:sldId id="411" r:id="rId8"/>
    <p:sldId id="385" r:id="rId9"/>
    <p:sldId id="407" r:id="rId10"/>
    <p:sldId id="408" r:id="rId11"/>
    <p:sldId id="409" r:id="rId12"/>
    <p:sldId id="410" r:id="rId13"/>
    <p:sldId id="412" r:id="rId14"/>
    <p:sldId id="413" r:id="rId15"/>
    <p:sldId id="414" r:id="rId16"/>
    <p:sldId id="423" r:id="rId17"/>
    <p:sldId id="415" r:id="rId18"/>
    <p:sldId id="416" r:id="rId19"/>
    <p:sldId id="417" r:id="rId20"/>
    <p:sldId id="418" r:id="rId21"/>
    <p:sldId id="419" r:id="rId22"/>
    <p:sldId id="420" r:id="rId23"/>
    <p:sldId id="421" r:id="rId24"/>
    <p:sldId id="422" r:id="rId25"/>
    <p:sldId id="424" r:id="rId26"/>
    <p:sldId id="425" r:id="rId27"/>
    <p:sldId id="426" r:id="rId28"/>
    <p:sldId id="427" r:id="rId29"/>
    <p:sldId id="429" r:id="rId30"/>
    <p:sldId id="430" r:id="rId31"/>
    <p:sldId id="431" r:id="rId32"/>
    <p:sldId id="432" r:id="rId33"/>
    <p:sldId id="433" r:id="rId34"/>
    <p:sldId id="434" r:id="rId35"/>
    <p:sldId id="435" r:id="rId36"/>
  </p:sldIdLst>
  <p:sldSz cx="12192000" cy="6858000"/>
  <p:notesSz cx="6858000" cy="9144000"/>
  <p:custDataLst>
    <p:tags r:id="rId3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981E7F-9FB7-48E2-8C6B-167A918A6829}" v="81" dt="2024-05-03T07:33:43.186"/>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79" autoAdjust="0"/>
    <p:restoredTop sz="91709" autoAdjust="0"/>
  </p:normalViewPr>
  <p:slideViewPr>
    <p:cSldViewPr snapToGrid="0" showGuides="1">
      <p:cViewPr varScale="1">
        <p:scale>
          <a:sx n="79" d="100"/>
          <a:sy n="79" d="100"/>
        </p:scale>
        <p:origin x="1080" y="62"/>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5A981E7F-9FB7-48E2-8C6B-167A918A6829}"/>
    <pc:docChg chg="undo custSel addSld delSld modSld sldOrd">
      <pc:chgData name="Bosma, Janneke" userId="fbc09de8-61da-4812-b08f-019a8e6904b9" providerId="ADAL" clId="{5A981E7F-9FB7-48E2-8C6B-167A918A6829}" dt="2024-05-03T07:36:07.188" v="13298" actId="20577"/>
      <pc:docMkLst>
        <pc:docMk/>
      </pc:docMkLst>
      <pc:sldChg chg="addSp delSp modSp mod modNotesTx">
        <pc:chgData name="Bosma, Janneke" userId="fbc09de8-61da-4812-b08f-019a8e6904b9" providerId="ADAL" clId="{5A981E7F-9FB7-48E2-8C6B-167A918A6829}" dt="2024-04-30T07:53:06.185" v="10503" actId="1076"/>
        <pc:sldMkLst>
          <pc:docMk/>
          <pc:sldMk cId="1539123830" sldId="385"/>
        </pc:sldMkLst>
        <pc:spChg chg="mod">
          <ac:chgData name="Bosma, Janneke" userId="fbc09de8-61da-4812-b08f-019a8e6904b9" providerId="ADAL" clId="{5A981E7F-9FB7-48E2-8C6B-167A918A6829}" dt="2024-04-16T14:37:47.124" v="35" actId="20577"/>
          <ac:spMkLst>
            <pc:docMk/>
            <pc:sldMk cId="1539123830" sldId="385"/>
            <ac:spMk id="2" creationId="{66EECF1F-3A3A-48A9-AF99-34EA2FE500E0}"/>
          </ac:spMkLst>
        </pc:spChg>
        <pc:spChg chg="add mod">
          <ac:chgData name="Bosma, Janneke" userId="fbc09de8-61da-4812-b08f-019a8e6904b9" providerId="ADAL" clId="{5A981E7F-9FB7-48E2-8C6B-167A918A6829}" dt="2024-04-16T14:37:27.564" v="25" actId="1076"/>
          <ac:spMkLst>
            <pc:docMk/>
            <pc:sldMk cId="1539123830" sldId="385"/>
            <ac:spMk id="3" creationId="{9474203A-16DC-8278-3599-DFD1EAB492B9}"/>
          </ac:spMkLst>
        </pc:spChg>
        <pc:spChg chg="mod">
          <ac:chgData name="Bosma, Janneke" userId="fbc09de8-61da-4812-b08f-019a8e6904b9" providerId="ADAL" clId="{5A981E7F-9FB7-48E2-8C6B-167A918A6829}" dt="2024-04-17T08:40:18.326" v="10468" actId="20577"/>
          <ac:spMkLst>
            <pc:docMk/>
            <pc:sldMk cId="1539123830" sldId="385"/>
            <ac:spMk id="5" creationId="{40BEEE44-7F2B-BDF1-A14B-33D44B17EE26}"/>
          </ac:spMkLst>
        </pc:spChg>
        <pc:spChg chg="del mod">
          <ac:chgData name="Bosma, Janneke" userId="fbc09de8-61da-4812-b08f-019a8e6904b9" providerId="ADAL" clId="{5A981E7F-9FB7-48E2-8C6B-167A918A6829}" dt="2024-04-16T14:43:26.849" v="277" actId="478"/>
          <ac:spMkLst>
            <pc:docMk/>
            <pc:sldMk cId="1539123830" sldId="385"/>
            <ac:spMk id="6" creationId="{83D4BB63-68EA-C7CA-D494-BCA86230C4CC}"/>
          </ac:spMkLst>
        </pc:spChg>
        <pc:spChg chg="add mod">
          <ac:chgData name="Bosma, Janneke" userId="fbc09de8-61da-4812-b08f-019a8e6904b9" providerId="ADAL" clId="{5A981E7F-9FB7-48E2-8C6B-167A918A6829}" dt="2024-04-30T07:53:04.181" v="10502" actId="1076"/>
          <ac:spMkLst>
            <pc:docMk/>
            <pc:sldMk cId="1539123830" sldId="385"/>
            <ac:spMk id="15" creationId="{3FE970CF-3726-498A-35BF-B4D0EDECA522}"/>
          </ac:spMkLst>
        </pc:spChg>
        <pc:spChg chg="add mod">
          <ac:chgData name="Bosma, Janneke" userId="fbc09de8-61da-4812-b08f-019a8e6904b9" providerId="ADAL" clId="{5A981E7F-9FB7-48E2-8C6B-167A918A6829}" dt="2024-04-30T07:53:06.185" v="10503" actId="1076"/>
          <ac:spMkLst>
            <pc:docMk/>
            <pc:sldMk cId="1539123830" sldId="385"/>
            <ac:spMk id="16" creationId="{C8C4239A-55BC-C08E-0233-FBAF7402FFCE}"/>
          </ac:spMkLst>
        </pc:spChg>
        <pc:spChg chg="add del mod">
          <ac:chgData name="Bosma, Janneke" userId="fbc09de8-61da-4812-b08f-019a8e6904b9" providerId="ADAL" clId="{5A981E7F-9FB7-48E2-8C6B-167A918A6829}" dt="2024-04-16T15:09:22.570" v="2472" actId="478"/>
          <ac:spMkLst>
            <pc:docMk/>
            <pc:sldMk cId="1539123830" sldId="385"/>
            <ac:spMk id="17" creationId="{C6666324-72F1-A963-5283-F77ED19FD255}"/>
          </ac:spMkLst>
        </pc:spChg>
        <pc:picChg chg="add mod">
          <ac:chgData name="Bosma, Janneke" userId="fbc09de8-61da-4812-b08f-019a8e6904b9" providerId="ADAL" clId="{5A981E7F-9FB7-48E2-8C6B-167A918A6829}" dt="2024-04-16T14:42:46.063" v="263" actId="1076"/>
          <ac:picMkLst>
            <pc:docMk/>
            <pc:sldMk cId="1539123830" sldId="385"/>
            <ac:picMk id="7" creationId="{D72BBCAA-B857-7FBD-06FF-B75D87414B3E}"/>
          </ac:picMkLst>
        </pc:picChg>
        <pc:picChg chg="del">
          <ac:chgData name="Bosma, Janneke" userId="fbc09de8-61da-4812-b08f-019a8e6904b9" providerId="ADAL" clId="{5A981E7F-9FB7-48E2-8C6B-167A918A6829}" dt="2024-04-16T14:37:30.012" v="26" actId="478"/>
          <ac:picMkLst>
            <pc:docMk/>
            <pc:sldMk cId="1539123830" sldId="385"/>
            <ac:picMk id="8" creationId="{C1A72766-9309-FA70-450B-BB4270732E6B}"/>
          </ac:picMkLst>
        </pc:picChg>
        <pc:picChg chg="add mod">
          <ac:chgData name="Bosma, Janneke" userId="fbc09de8-61da-4812-b08f-019a8e6904b9" providerId="ADAL" clId="{5A981E7F-9FB7-48E2-8C6B-167A918A6829}" dt="2024-04-16T14:43:11.049" v="271" actId="1076"/>
          <ac:picMkLst>
            <pc:docMk/>
            <pc:sldMk cId="1539123830" sldId="385"/>
            <ac:picMk id="10" creationId="{1348F7BB-BA51-CF3A-F363-7285EC19F8D1}"/>
          </ac:picMkLst>
        </pc:picChg>
        <pc:cxnChg chg="add mod">
          <ac:chgData name="Bosma, Janneke" userId="fbc09de8-61da-4812-b08f-019a8e6904b9" providerId="ADAL" clId="{5A981E7F-9FB7-48E2-8C6B-167A918A6829}" dt="2024-04-16T14:43:07.833" v="270" actId="1076"/>
          <ac:cxnSpMkLst>
            <pc:docMk/>
            <pc:sldMk cId="1539123830" sldId="385"/>
            <ac:cxnSpMk id="12" creationId="{41476F61-CD69-D03C-B7C9-373381E3C34F}"/>
          </ac:cxnSpMkLst>
        </pc:cxnChg>
        <pc:cxnChg chg="add mod">
          <ac:chgData name="Bosma, Janneke" userId="fbc09de8-61da-4812-b08f-019a8e6904b9" providerId="ADAL" clId="{5A981E7F-9FB7-48E2-8C6B-167A918A6829}" dt="2024-04-16T14:43:18.623" v="275" actId="1076"/>
          <ac:cxnSpMkLst>
            <pc:docMk/>
            <pc:sldMk cId="1539123830" sldId="385"/>
            <ac:cxnSpMk id="13" creationId="{BAEA0D44-7839-AEFA-9A19-C42F3BD8A235}"/>
          </ac:cxnSpMkLst>
        </pc:cxnChg>
      </pc:sldChg>
      <pc:sldChg chg="del">
        <pc:chgData name="Bosma, Janneke" userId="fbc09de8-61da-4812-b08f-019a8e6904b9" providerId="ADAL" clId="{5A981E7F-9FB7-48E2-8C6B-167A918A6829}" dt="2024-04-16T14:51:49.512" v="785" actId="47"/>
        <pc:sldMkLst>
          <pc:docMk/>
          <pc:sldMk cId="748100936" sldId="388"/>
        </pc:sldMkLst>
      </pc:sldChg>
      <pc:sldChg chg="del">
        <pc:chgData name="Bosma, Janneke" userId="fbc09de8-61da-4812-b08f-019a8e6904b9" providerId="ADAL" clId="{5A981E7F-9FB7-48E2-8C6B-167A918A6829}" dt="2024-04-16T14:51:47.467" v="782" actId="47"/>
        <pc:sldMkLst>
          <pc:docMk/>
          <pc:sldMk cId="3388314341" sldId="396"/>
        </pc:sldMkLst>
      </pc:sldChg>
      <pc:sldChg chg="del">
        <pc:chgData name="Bosma, Janneke" userId="fbc09de8-61da-4812-b08f-019a8e6904b9" providerId="ADAL" clId="{5A981E7F-9FB7-48E2-8C6B-167A918A6829}" dt="2024-04-16T14:51:49.840" v="786" actId="47"/>
        <pc:sldMkLst>
          <pc:docMk/>
          <pc:sldMk cId="570974521" sldId="398"/>
        </pc:sldMkLst>
      </pc:sldChg>
      <pc:sldChg chg="del">
        <pc:chgData name="Bosma, Janneke" userId="fbc09de8-61da-4812-b08f-019a8e6904b9" providerId="ADAL" clId="{5A981E7F-9FB7-48E2-8C6B-167A918A6829}" dt="2024-04-16T14:51:50.167" v="787" actId="47"/>
        <pc:sldMkLst>
          <pc:docMk/>
          <pc:sldMk cId="2418587023" sldId="399"/>
        </pc:sldMkLst>
      </pc:sldChg>
      <pc:sldChg chg="del">
        <pc:chgData name="Bosma, Janneke" userId="fbc09de8-61da-4812-b08f-019a8e6904b9" providerId="ADAL" clId="{5A981E7F-9FB7-48E2-8C6B-167A918A6829}" dt="2024-04-16T14:51:50.448" v="788" actId="47"/>
        <pc:sldMkLst>
          <pc:docMk/>
          <pc:sldMk cId="2216068714" sldId="400"/>
        </pc:sldMkLst>
      </pc:sldChg>
      <pc:sldChg chg="del">
        <pc:chgData name="Bosma, Janneke" userId="fbc09de8-61da-4812-b08f-019a8e6904b9" providerId="ADAL" clId="{5A981E7F-9FB7-48E2-8C6B-167A918A6829}" dt="2024-04-16T14:51:51.012" v="789" actId="47"/>
        <pc:sldMkLst>
          <pc:docMk/>
          <pc:sldMk cId="1133550296" sldId="401"/>
        </pc:sldMkLst>
      </pc:sldChg>
      <pc:sldChg chg="del">
        <pc:chgData name="Bosma, Janneke" userId="fbc09de8-61da-4812-b08f-019a8e6904b9" providerId="ADAL" clId="{5A981E7F-9FB7-48E2-8C6B-167A918A6829}" dt="2024-04-16T14:51:51.993" v="790" actId="47"/>
        <pc:sldMkLst>
          <pc:docMk/>
          <pc:sldMk cId="65303109" sldId="402"/>
        </pc:sldMkLst>
      </pc:sldChg>
      <pc:sldChg chg="del">
        <pc:chgData name="Bosma, Janneke" userId="fbc09de8-61da-4812-b08f-019a8e6904b9" providerId="ADAL" clId="{5A981E7F-9FB7-48E2-8C6B-167A918A6829}" dt="2024-04-16T14:51:53.791" v="791" actId="47"/>
        <pc:sldMkLst>
          <pc:docMk/>
          <pc:sldMk cId="2409312930" sldId="403"/>
        </pc:sldMkLst>
      </pc:sldChg>
      <pc:sldChg chg="del">
        <pc:chgData name="Bosma, Janneke" userId="fbc09de8-61da-4812-b08f-019a8e6904b9" providerId="ADAL" clId="{5A981E7F-9FB7-48E2-8C6B-167A918A6829}" dt="2024-04-16T14:51:48.228" v="783" actId="47"/>
        <pc:sldMkLst>
          <pc:docMk/>
          <pc:sldMk cId="546690010" sldId="404"/>
        </pc:sldMkLst>
      </pc:sldChg>
      <pc:sldChg chg="del">
        <pc:chgData name="Bosma, Janneke" userId="fbc09de8-61da-4812-b08f-019a8e6904b9" providerId="ADAL" clId="{5A981E7F-9FB7-48E2-8C6B-167A918A6829}" dt="2024-04-16T14:51:48.985" v="784" actId="47"/>
        <pc:sldMkLst>
          <pc:docMk/>
          <pc:sldMk cId="42310640" sldId="405"/>
        </pc:sldMkLst>
      </pc:sldChg>
      <pc:sldChg chg="addSp modSp add mod">
        <pc:chgData name="Bosma, Janneke" userId="fbc09de8-61da-4812-b08f-019a8e6904b9" providerId="ADAL" clId="{5A981E7F-9FB7-48E2-8C6B-167A918A6829}" dt="2024-04-30T08:36:41.380" v="11449" actId="20577"/>
        <pc:sldMkLst>
          <pc:docMk/>
          <pc:sldMk cId="564075663" sldId="406"/>
        </pc:sldMkLst>
        <pc:spChg chg="mod">
          <ac:chgData name="Bosma, Janneke" userId="fbc09de8-61da-4812-b08f-019a8e6904b9" providerId="ADAL" clId="{5A981E7F-9FB7-48E2-8C6B-167A918A6829}" dt="2024-04-18T11:21:11.037" v="10500" actId="20577"/>
          <ac:spMkLst>
            <pc:docMk/>
            <pc:sldMk cId="564075663" sldId="406"/>
            <ac:spMk id="7" creationId="{089ED333-AC11-5346-BE9A-34436DAE0E0D}"/>
          </ac:spMkLst>
        </pc:spChg>
        <pc:spChg chg="add mod">
          <ac:chgData name="Bosma, Janneke" userId="fbc09de8-61da-4812-b08f-019a8e6904b9" providerId="ADAL" clId="{5A981E7F-9FB7-48E2-8C6B-167A918A6829}" dt="2024-04-16T14:36:31.694" v="7" actId="1076"/>
          <ac:spMkLst>
            <pc:docMk/>
            <pc:sldMk cId="564075663" sldId="406"/>
            <ac:spMk id="11" creationId="{22F879EE-F959-C6A7-8B36-3B31B681E8CC}"/>
          </ac:spMkLst>
        </pc:spChg>
        <pc:spChg chg="add mod">
          <ac:chgData name="Bosma, Janneke" userId="fbc09de8-61da-4812-b08f-019a8e6904b9" providerId="ADAL" clId="{5A981E7F-9FB7-48E2-8C6B-167A918A6829}" dt="2024-04-16T14:36:37.835" v="10" actId="20577"/>
          <ac:spMkLst>
            <pc:docMk/>
            <pc:sldMk cId="564075663" sldId="406"/>
            <ac:spMk id="22" creationId="{F7483C18-5AE7-8CEA-D25E-4E7609ED5586}"/>
          </ac:spMkLst>
        </pc:spChg>
        <pc:spChg chg="add mod">
          <ac:chgData name="Bosma, Janneke" userId="fbc09de8-61da-4812-b08f-019a8e6904b9" providerId="ADAL" clId="{5A981E7F-9FB7-48E2-8C6B-167A918A6829}" dt="2024-04-16T14:36:55.074" v="14" actId="20577"/>
          <ac:spMkLst>
            <pc:docMk/>
            <pc:sldMk cId="564075663" sldId="406"/>
            <ac:spMk id="23" creationId="{69AFC13A-FC2D-E7E6-26A9-9C6FFA586575}"/>
          </ac:spMkLst>
        </pc:spChg>
        <pc:spChg chg="add mod">
          <ac:chgData name="Bosma, Janneke" userId="fbc09de8-61da-4812-b08f-019a8e6904b9" providerId="ADAL" clId="{5A981E7F-9FB7-48E2-8C6B-167A918A6829}" dt="2024-04-16T14:37:05.438" v="18" actId="20577"/>
          <ac:spMkLst>
            <pc:docMk/>
            <pc:sldMk cId="564075663" sldId="406"/>
            <ac:spMk id="24" creationId="{645C96E8-2538-4493-686C-E719F28EE01A}"/>
          </ac:spMkLst>
        </pc:spChg>
        <pc:spChg chg="add mod">
          <ac:chgData name="Bosma, Janneke" userId="fbc09de8-61da-4812-b08f-019a8e6904b9" providerId="ADAL" clId="{5A981E7F-9FB7-48E2-8C6B-167A918A6829}" dt="2024-04-16T14:37:16.882" v="23" actId="20577"/>
          <ac:spMkLst>
            <pc:docMk/>
            <pc:sldMk cId="564075663" sldId="406"/>
            <ac:spMk id="25" creationId="{6C2E9727-16EF-A424-84EB-A0D570B5294D}"/>
          </ac:spMkLst>
        </pc:spChg>
        <pc:spChg chg="add mod">
          <ac:chgData name="Bosma, Janneke" userId="fbc09de8-61da-4812-b08f-019a8e6904b9" providerId="ADAL" clId="{5A981E7F-9FB7-48E2-8C6B-167A918A6829}" dt="2024-04-30T08:36:41.380" v="11449" actId="20577"/>
          <ac:spMkLst>
            <pc:docMk/>
            <pc:sldMk cId="564075663" sldId="406"/>
            <ac:spMk id="25" creationId="{ACDDEB72-5DC4-4560-1754-86595CC6898D}"/>
          </ac:spMkLst>
        </pc:spChg>
      </pc:sldChg>
      <pc:sldChg chg="addSp delSp modSp add mod modNotesTx">
        <pc:chgData name="Bosma, Janneke" userId="fbc09de8-61da-4812-b08f-019a8e6904b9" providerId="ADAL" clId="{5A981E7F-9FB7-48E2-8C6B-167A918A6829}" dt="2024-04-16T15:08:09.227" v="2460" actId="20577"/>
        <pc:sldMkLst>
          <pc:docMk/>
          <pc:sldMk cId="46050430" sldId="407"/>
        </pc:sldMkLst>
        <pc:spChg chg="del mod">
          <ac:chgData name="Bosma, Janneke" userId="fbc09de8-61da-4812-b08f-019a8e6904b9" providerId="ADAL" clId="{5A981E7F-9FB7-48E2-8C6B-167A918A6829}" dt="2024-04-16T14:53:32.252" v="826"/>
          <ac:spMkLst>
            <pc:docMk/>
            <pc:sldMk cId="46050430" sldId="407"/>
            <ac:spMk id="5" creationId="{40BEEE44-7F2B-BDF1-A14B-33D44B17EE26}"/>
          </ac:spMkLst>
        </pc:spChg>
        <pc:spChg chg="add mod ord">
          <ac:chgData name="Bosma, Janneke" userId="fbc09de8-61da-4812-b08f-019a8e6904b9" providerId="ADAL" clId="{5A981E7F-9FB7-48E2-8C6B-167A918A6829}" dt="2024-04-16T14:58:30.064" v="1362" actId="20577"/>
          <ac:spMkLst>
            <pc:docMk/>
            <pc:sldMk cId="46050430" sldId="407"/>
            <ac:spMk id="11" creationId="{A1EE8646-823E-BAE2-5DB9-6A84A4650D75}"/>
          </ac:spMkLst>
        </pc:spChg>
        <pc:spChg chg="del mod">
          <ac:chgData name="Bosma, Janneke" userId="fbc09de8-61da-4812-b08f-019a8e6904b9" providerId="ADAL" clId="{5A981E7F-9FB7-48E2-8C6B-167A918A6829}" dt="2024-04-16T14:53:01.362" v="800" actId="478"/>
          <ac:spMkLst>
            <pc:docMk/>
            <pc:sldMk cId="46050430" sldId="407"/>
            <ac:spMk id="15" creationId="{3FE970CF-3726-498A-35BF-B4D0EDECA522}"/>
          </ac:spMkLst>
        </pc:spChg>
        <pc:spChg chg="del mod">
          <ac:chgData name="Bosma, Janneke" userId="fbc09de8-61da-4812-b08f-019a8e6904b9" providerId="ADAL" clId="{5A981E7F-9FB7-48E2-8C6B-167A918A6829}" dt="2024-04-16T14:53:02.430" v="801" actId="478"/>
          <ac:spMkLst>
            <pc:docMk/>
            <pc:sldMk cId="46050430" sldId="407"/>
            <ac:spMk id="16" creationId="{C8C4239A-55BC-C08E-0233-FBAF7402FFCE}"/>
          </ac:spMkLst>
        </pc:spChg>
        <pc:spChg chg="del mod">
          <ac:chgData name="Bosma, Janneke" userId="fbc09de8-61da-4812-b08f-019a8e6904b9" providerId="ADAL" clId="{5A981E7F-9FB7-48E2-8C6B-167A918A6829}" dt="2024-04-16T14:53:41.580" v="832" actId="478"/>
          <ac:spMkLst>
            <pc:docMk/>
            <pc:sldMk cId="46050430" sldId="407"/>
            <ac:spMk id="17" creationId="{C6666324-72F1-A963-5283-F77ED19FD255}"/>
          </ac:spMkLst>
        </pc:spChg>
        <pc:spChg chg="del mod">
          <ac:chgData name="Bosma, Janneke" userId="fbc09de8-61da-4812-b08f-019a8e6904b9" providerId="ADAL" clId="{5A981E7F-9FB7-48E2-8C6B-167A918A6829}" dt="2024-04-16T14:53:59.418" v="846" actId="478"/>
          <ac:spMkLst>
            <pc:docMk/>
            <pc:sldMk cId="46050430" sldId="407"/>
            <ac:spMk id="31" creationId="{38A2A9EE-75E8-49F9-EBD2-15C6298FC791}"/>
          </ac:spMkLst>
        </pc:spChg>
        <pc:picChg chg="add mod">
          <ac:chgData name="Bosma, Janneke" userId="fbc09de8-61da-4812-b08f-019a8e6904b9" providerId="ADAL" clId="{5A981E7F-9FB7-48E2-8C6B-167A918A6829}" dt="2024-04-16T14:57:33.005" v="1275" actId="1076"/>
          <ac:picMkLst>
            <pc:docMk/>
            <pc:sldMk cId="46050430" sldId="407"/>
            <ac:picMk id="6" creationId="{13156CCA-6DBB-8AC9-47EC-4D83B1131C1A}"/>
          </ac:picMkLst>
        </pc:picChg>
        <pc:picChg chg="del">
          <ac:chgData name="Bosma, Janneke" userId="fbc09de8-61da-4812-b08f-019a8e6904b9" providerId="ADAL" clId="{5A981E7F-9FB7-48E2-8C6B-167A918A6829}" dt="2024-04-16T14:53:04.559" v="804" actId="478"/>
          <ac:picMkLst>
            <pc:docMk/>
            <pc:sldMk cId="46050430" sldId="407"/>
            <ac:picMk id="7" creationId="{D72BBCAA-B857-7FBD-06FF-B75D87414B3E}"/>
          </ac:picMkLst>
        </pc:picChg>
        <pc:picChg chg="add del">
          <ac:chgData name="Bosma, Janneke" userId="fbc09de8-61da-4812-b08f-019a8e6904b9" providerId="ADAL" clId="{5A981E7F-9FB7-48E2-8C6B-167A918A6829}" dt="2024-04-16T14:53:31.891" v="824" actId="22"/>
          <ac:picMkLst>
            <pc:docMk/>
            <pc:sldMk cId="46050430" sldId="407"/>
            <ac:picMk id="9" creationId="{A6DA6211-77B9-DD9E-452A-5C871BB85093}"/>
          </ac:picMkLst>
        </pc:picChg>
        <pc:picChg chg="del">
          <ac:chgData name="Bosma, Janneke" userId="fbc09de8-61da-4812-b08f-019a8e6904b9" providerId="ADAL" clId="{5A981E7F-9FB7-48E2-8C6B-167A918A6829}" dt="2024-04-16T14:52:57.777" v="796" actId="478"/>
          <ac:picMkLst>
            <pc:docMk/>
            <pc:sldMk cId="46050430" sldId="407"/>
            <ac:picMk id="10" creationId="{1348F7BB-BA51-CF3A-F363-7285EC19F8D1}"/>
          </ac:picMkLst>
        </pc:picChg>
        <pc:picChg chg="add del mod">
          <ac:chgData name="Bosma, Janneke" userId="fbc09de8-61da-4812-b08f-019a8e6904b9" providerId="ADAL" clId="{5A981E7F-9FB7-48E2-8C6B-167A918A6829}" dt="2024-04-16T14:54:50.403" v="954" actId="478"/>
          <ac:picMkLst>
            <pc:docMk/>
            <pc:sldMk cId="46050430" sldId="407"/>
            <ac:picMk id="18" creationId="{DE3970A7-79EF-CBE7-3B78-1BEB0D1FFAEF}"/>
          </ac:picMkLst>
        </pc:picChg>
        <pc:picChg chg="add mod">
          <ac:chgData name="Bosma, Janneke" userId="fbc09de8-61da-4812-b08f-019a8e6904b9" providerId="ADAL" clId="{5A981E7F-9FB7-48E2-8C6B-167A918A6829}" dt="2024-04-16T14:56:58.990" v="1254" actId="1076"/>
          <ac:picMkLst>
            <pc:docMk/>
            <pc:sldMk cId="46050430" sldId="407"/>
            <ac:picMk id="20" creationId="{8EB1B4FA-AC70-4FC1-A039-C46FCAD74FBF}"/>
          </ac:picMkLst>
        </pc:picChg>
        <pc:picChg chg="add mod">
          <ac:chgData name="Bosma, Janneke" userId="fbc09de8-61da-4812-b08f-019a8e6904b9" providerId="ADAL" clId="{5A981E7F-9FB7-48E2-8C6B-167A918A6829}" dt="2024-04-16T14:57:40.143" v="1279" actId="1076"/>
          <ac:picMkLst>
            <pc:docMk/>
            <pc:sldMk cId="46050430" sldId="407"/>
            <ac:picMk id="26" creationId="{CD1F434F-8504-2914-CB02-FFE663C703A8}"/>
          </ac:picMkLst>
        </pc:picChg>
        <pc:cxnChg chg="del">
          <ac:chgData name="Bosma, Janneke" userId="fbc09de8-61da-4812-b08f-019a8e6904b9" providerId="ADAL" clId="{5A981E7F-9FB7-48E2-8C6B-167A918A6829}" dt="2024-04-16T14:53:03.910" v="803" actId="478"/>
          <ac:cxnSpMkLst>
            <pc:docMk/>
            <pc:sldMk cId="46050430" sldId="407"/>
            <ac:cxnSpMk id="12" creationId="{41476F61-CD69-D03C-B7C9-373381E3C34F}"/>
          </ac:cxnSpMkLst>
        </pc:cxnChg>
        <pc:cxnChg chg="del">
          <ac:chgData name="Bosma, Janneke" userId="fbc09de8-61da-4812-b08f-019a8e6904b9" providerId="ADAL" clId="{5A981E7F-9FB7-48E2-8C6B-167A918A6829}" dt="2024-04-16T14:53:03.282" v="802" actId="478"/>
          <ac:cxnSpMkLst>
            <pc:docMk/>
            <pc:sldMk cId="46050430" sldId="407"/>
            <ac:cxnSpMk id="13" creationId="{BAEA0D44-7839-AEFA-9A19-C42F3BD8A235}"/>
          </ac:cxnSpMkLst>
        </pc:cxnChg>
        <pc:cxnChg chg="add mod">
          <ac:chgData name="Bosma, Janneke" userId="fbc09de8-61da-4812-b08f-019a8e6904b9" providerId="ADAL" clId="{5A981E7F-9FB7-48E2-8C6B-167A918A6829}" dt="2024-04-16T14:57:01.796" v="1256" actId="1076"/>
          <ac:cxnSpMkLst>
            <pc:docMk/>
            <pc:sldMk cId="46050430" sldId="407"/>
            <ac:cxnSpMk id="22" creationId="{6564B797-C93B-5816-5FB6-D873137F32BC}"/>
          </ac:cxnSpMkLst>
        </pc:cxnChg>
        <pc:cxnChg chg="add mod">
          <ac:chgData name="Bosma, Janneke" userId="fbc09de8-61da-4812-b08f-019a8e6904b9" providerId="ADAL" clId="{5A981E7F-9FB7-48E2-8C6B-167A918A6829}" dt="2024-04-16T14:57:04.185" v="1257" actId="1076"/>
          <ac:cxnSpMkLst>
            <pc:docMk/>
            <pc:sldMk cId="46050430" sldId="407"/>
            <ac:cxnSpMk id="24" creationId="{E80ECA01-BDFB-84B0-16D3-C35F40486D2B}"/>
          </ac:cxnSpMkLst>
        </pc:cxnChg>
      </pc:sldChg>
      <pc:sldChg chg="addSp delSp modSp add mod modNotesTx">
        <pc:chgData name="Bosma, Janneke" userId="fbc09de8-61da-4812-b08f-019a8e6904b9" providerId="ADAL" clId="{5A981E7F-9FB7-48E2-8C6B-167A918A6829}" dt="2024-04-30T08:49:32.729" v="13278" actId="1076"/>
        <pc:sldMkLst>
          <pc:docMk/>
          <pc:sldMk cId="293514284" sldId="408"/>
        </pc:sldMkLst>
        <pc:spChg chg="mod">
          <ac:chgData name="Bosma, Janneke" userId="fbc09de8-61da-4812-b08f-019a8e6904b9" providerId="ADAL" clId="{5A981E7F-9FB7-48E2-8C6B-167A918A6829}" dt="2024-04-16T15:42:39.914" v="6467" actId="20577"/>
          <ac:spMkLst>
            <pc:docMk/>
            <pc:sldMk cId="293514284" sldId="408"/>
            <ac:spMk id="2" creationId="{66EECF1F-3A3A-48A9-AF99-34EA2FE500E0}"/>
          </ac:spMkLst>
        </pc:spChg>
        <pc:spChg chg="add mod">
          <ac:chgData name="Bosma, Janneke" userId="fbc09de8-61da-4812-b08f-019a8e6904b9" providerId="ADAL" clId="{5A981E7F-9FB7-48E2-8C6B-167A918A6829}" dt="2024-04-16T15:03:13.755" v="2217" actId="20577"/>
          <ac:spMkLst>
            <pc:docMk/>
            <pc:sldMk cId="293514284" sldId="408"/>
            <ac:spMk id="7" creationId="{6130060B-082D-F851-D95A-F23B46F433C6}"/>
          </ac:spMkLst>
        </pc:spChg>
        <pc:spChg chg="del">
          <ac:chgData name="Bosma, Janneke" userId="fbc09de8-61da-4812-b08f-019a8e6904b9" providerId="ADAL" clId="{5A981E7F-9FB7-48E2-8C6B-167A918A6829}" dt="2024-04-16T15:01:38.749" v="1830" actId="478"/>
          <ac:spMkLst>
            <pc:docMk/>
            <pc:sldMk cId="293514284" sldId="408"/>
            <ac:spMk id="17" creationId="{C6666324-72F1-A963-5283-F77ED19FD255}"/>
          </ac:spMkLst>
        </pc:spChg>
        <pc:picChg chg="add mod">
          <ac:chgData name="Bosma, Janneke" userId="fbc09de8-61da-4812-b08f-019a8e6904b9" providerId="ADAL" clId="{5A981E7F-9FB7-48E2-8C6B-167A918A6829}" dt="2024-04-16T15:01:05.038" v="1800" actId="1076"/>
          <ac:picMkLst>
            <pc:docMk/>
            <pc:sldMk cId="293514284" sldId="408"/>
            <ac:picMk id="5" creationId="{50A69594-4035-8EB1-0CCA-D1E192039F43}"/>
          </ac:picMkLst>
        </pc:picChg>
        <pc:picChg chg="del">
          <ac:chgData name="Bosma, Janneke" userId="fbc09de8-61da-4812-b08f-019a8e6904b9" providerId="ADAL" clId="{5A981E7F-9FB7-48E2-8C6B-167A918A6829}" dt="2024-04-16T14:57:52.149" v="1287" actId="478"/>
          <ac:picMkLst>
            <pc:docMk/>
            <pc:sldMk cId="293514284" sldId="408"/>
            <ac:picMk id="6" creationId="{13156CCA-6DBB-8AC9-47EC-4D83B1131C1A}"/>
          </ac:picMkLst>
        </pc:picChg>
        <pc:picChg chg="add mod">
          <ac:chgData name="Bosma, Janneke" userId="fbc09de8-61da-4812-b08f-019a8e6904b9" providerId="ADAL" clId="{5A981E7F-9FB7-48E2-8C6B-167A918A6829}" dt="2024-04-30T08:49:32.729" v="13278" actId="1076"/>
          <ac:picMkLst>
            <pc:docMk/>
            <pc:sldMk cId="293514284" sldId="408"/>
            <ac:picMk id="9" creationId="{F65BD104-FD2F-33A8-9B81-D248B375F723}"/>
          </ac:picMkLst>
        </pc:picChg>
      </pc:sldChg>
      <pc:sldChg chg="addSp delSp modSp add mod ord modNotesTx">
        <pc:chgData name="Bosma, Janneke" userId="fbc09de8-61da-4812-b08f-019a8e6904b9" providerId="ADAL" clId="{5A981E7F-9FB7-48E2-8C6B-167A918A6829}" dt="2024-04-16T15:43:28.907" v="6522" actId="1076"/>
        <pc:sldMkLst>
          <pc:docMk/>
          <pc:sldMk cId="4091157769" sldId="409"/>
        </pc:sldMkLst>
        <pc:spChg chg="del mod">
          <ac:chgData name="Bosma, Janneke" userId="fbc09de8-61da-4812-b08f-019a8e6904b9" providerId="ADAL" clId="{5A981E7F-9FB7-48E2-8C6B-167A918A6829}" dt="2024-04-16T15:43:09.264" v="6517" actId="478"/>
          <ac:spMkLst>
            <pc:docMk/>
            <pc:sldMk cId="4091157769" sldId="409"/>
            <ac:spMk id="2" creationId="{66EECF1F-3A3A-48A9-AF99-34EA2FE500E0}"/>
          </ac:spMkLst>
        </pc:spChg>
        <pc:spChg chg="mod">
          <ac:chgData name="Bosma, Janneke" userId="fbc09de8-61da-4812-b08f-019a8e6904b9" providerId="ADAL" clId="{5A981E7F-9FB7-48E2-8C6B-167A918A6829}" dt="2024-04-16T15:05:52.757" v="2269" actId="5793"/>
          <ac:spMkLst>
            <pc:docMk/>
            <pc:sldMk cId="4091157769" sldId="409"/>
            <ac:spMk id="11" creationId="{A1EE8646-823E-BAE2-5DB9-6A84A4650D75}"/>
          </ac:spMkLst>
        </pc:spChg>
        <pc:spChg chg="add del mod">
          <ac:chgData name="Bosma, Janneke" userId="fbc09de8-61da-4812-b08f-019a8e6904b9" providerId="ADAL" clId="{5A981E7F-9FB7-48E2-8C6B-167A918A6829}" dt="2024-04-16T15:43:11.388" v="6519" actId="478"/>
          <ac:spMkLst>
            <pc:docMk/>
            <pc:sldMk cId="4091157769" sldId="409"/>
            <ac:spMk id="13" creationId="{C6064CFA-73FF-42BB-BB75-46C87BE21308}"/>
          </ac:spMkLst>
        </pc:spChg>
        <pc:spChg chg="add mod">
          <ac:chgData name="Bosma, Janneke" userId="fbc09de8-61da-4812-b08f-019a8e6904b9" providerId="ADAL" clId="{5A981E7F-9FB7-48E2-8C6B-167A918A6829}" dt="2024-04-16T15:43:28.907" v="6522" actId="1076"/>
          <ac:spMkLst>
            <pc:docMk/>
            <pc:sldMk cId="4091157769" sldId="409"/>
            <ac:spMk id="14" creationId="{24A03EFF-44DB-60C6-6D92-730352C840AC}"/>
          </ac:spMkLst>
        </pc:spChg>
        <pc:picChg chg="add del mod">
          <ac:chgData name="Bosma, Janneke" userId="fbc09de8-61da-4812-b08f-019a8e6904b9" providerId="ADAL" clId="{5A981E7F-9FB7-48E2-8C6B-167A918A6829}" dt="2024-04-16T15:04:22.752" v="2230" actId="478"/>
          <ac:picMkLst>
            <pc:docMk/>
            <pc:sldMk cId="4091157769" sldId="409"/>
            <ac:picMk id="5" creationId="{D5B3885B-2A45-4A58-2379-75AA0A0C0857}"/>
          </ac:picMkLst>
        </pc:picChg>
        <pc:picChg chg="del">
          <ac:chgData name="Bosma, Janneke" userId="fbc09de8-61da-4812-b08f-019a8e6904b9" providerId="ADAL" clId="{5A981E7F-9FB7-48E2-8C6B-167A918A6829}" dt="2024-04-16T15:03:22.165" v="2222" actId="478"/>
          <ac:picMkLst>
            <pc:docMk/>
            <pc:sldMk cId="4091157769" sldId="409"/>
            <ac:picMk id="6" creationId="{13156CCA-6DBB-8AC9-47EC-4D83B1131C1A}"/>
          </ac:picMkLst>
        </pc:picChg>
        <pc:picChg chg="add mod">
          <ac:chgData name="Bosma, Janneke" userId="fbc09de8-61da-4812-b08f-019a8e6904b9" providerId="ADAL" clId="{5A981E7F-9FB7-48E2-8C6B-167A918A6829}" dt="2024-04-16T15:05:33.526" v="2266" actId="1076"/>
          <ac:picMkLst>
            <pc:docMk/>
            <pc:sldMk cId="4091157769" sldId="409"/>
            <ac:picMk id="8" creationId="{892EE3BE-62D1-41DB-38E2-C95AC4B8618A}"/>
          </ac:picMkLst>
        </pc:picChg>
        <pc:picChg chg="add del">
          <ac:chgData name="Bosma, Janneke" userId="fbc09de8-61da-4812-b08f-019a8e6904b9" providerId="ADAL" clId="{5A981E7F-9FB7-48E2-8C6B-167A918A6829}" dt="2024-04-16T15:05:39.841" v="2268" actId="22"/>
          <ac:picMkLst>
            <pc:docMk/>
            <pc:sldMk cId="4091157769" sldId="409"/>
            <ac:picMk id="10" creationId="{D682EF4F-508D-EE12-DFC9-6DB8DA2FBA56}"/>
          </ac:picMkLst>
        </pc:picChg>
        <pc:picChg chg="del">
          <ac:chgData name="Bosma, Janneke" userId="fbc09de8-61da-4812-b08f-019a8e6904b9" providerId="ADAL" clId="{5A981E7F-9FB7-48E2-8C6B-167A918A6829}" dt="2024-04-16T15:03:25.079" v="2223" actId="478"/>
          <ac:picMkLst>
            <pc:docMk/>
            <pc:sldMk cId="4091157769" sldId="409"/>
            <ac:picMk id="20" creationId="{8EB1B4FA-AC70-4FC1-A039-C46FCAD74FBF}"/>
          </ac:picMkLst>
        </pc:picChg>
        <pc:picChg chg="del">
          <ac:chgData name="Bosma, Janneke" userId="fbc09de8-61da-4812-b08f-019a8e6904b9" providerId="ADAL" clId="{5A981E7F-9FB7-48E2-8C6B-167A918A6829}" dt="2024-04-16T15:03:20.401" v="2221" actId="478"/>
          <ac:picMkLst>
            <pc:docMk/>
            <pc:sldMk cId="4091157769" sldId="409"/>
            <ac:picMk id="26" creationId="{CD1F434F-8504-2914-CB02-FFE663C703A8}"/>
          </ac:picMkLst>
        </pc:picChg>
        <pc:cxnChg chg="del">
          <ac:chgData name="Bosma, Janneke" userId="fbc09de8-61da-4812-b08f-019a8e6904b9" providerId="ADAL" clId="{5A981E7F-9FB7-48E2-8C6B-167A918A6829}" dt="2024-04-16T15:03:55.568" v="2226" actId="478"/>
          <ac:cxnSpMkLst>
            <pc:docMk/>
            <pc:sldMk cId="4091157769" sldId="409"/>
            <ac:cxnSpMk id="22" creationId="{6564B797-C93B-5816-5FB6-D873137F32BC}"/>
          </ac:cxnSpMkLst>
        </pc:cxnChg>
        <pc:cxnChg chg="del">
          <ac:chgData name="Bosma, Janneke" userId="fbc09de8-61da-4812-b08f-019a8e6904b9" providerId="ADAL" clId="{5A981E7F-9FB7-48E2-8C6B-167A918A6829}" dt="2024-04-16T15:03:53.609" v="2225" actId="478"/>
          <ac:cxnSpMkLst>
            <pc:docMk/>
            <pc:sldMk cId="4091157769" sldId="409"/>
            <ac:cxnSpMk id="24" creationId="{E80ECA01-BDFB-84B0-16D3-C35F40486D2B}"/>
          </ac:cxnSpMkLst>
        </pc:cxnChg>
      </pc:sldChg>
      <pc:sldChg chg="addSp delSp modSp add mod ord modNotesTx">
        <pc:chgData name="Bosma, Janneke" userId="fbc09de8-61da-4812-b08f-019a8e6904b9" providerId="ADAL" clId="{5A981E7F-9FB7-48E2-8C6B-167A918A6829}" dt="2024-04-16T15:43:47.112" v="6548" actId="20577"/>
        <pc:sldMkLst>
          <pc:docMk/>
          <pc:sldMk cId="2590585570" sldId="410"/>
        </pc:sldMkLst>
        <pc:spChg chg="mod">
          <ac:chgData name="Bosma, Janneke" userId="fbc09de8-61da-4812-b08f-019a8e6904b9" providerId="ADAL" clId="{5A981E7F-9FB7-48E2-8C6B-167A918A6829}" dt="2024-04-16T15:43:47.112" v="6548" actId="20577"/>
          <ac:spMkLst>
            <pc:docMk/>
            <pc:sldMk cId="2590585570" sldId="410"/>
            <ac:spMk id="2" creationId="{66EECF1F-3A3A-48A9-AF99-34EA2FE500E0}"/>
          </ac:spMkLst>
        </pc:spChg>
        <pc:spChg chg="mod">
          <ac:chgData name="Bosma, Janneke" userId="fbc09de8-61da-4812-b08f-019a8e6904b9" providerId="ADAL" clId="{5A981E7F-9FB7-48E2-8C6B-167A918A6829}" dt="2024-04-16T15:07:54.748" v="2452" actId="20577"/>
          <ac:spMkLst>
            <pc:docMk/>
            <pc:sldMk cId="2590585570" sldId="410"/>
            <ac:spMk id="7" creationId="{6130060B-082D-F851-D95A-F23B46F433C6}"/>
          </ac:spMkLst>
        </pc:spChg>
        <pc:picChg chg="del mod">
          <ac:chgData name="Bosma, Janneke" userId="fbc09de8-61da-4812-b08f-019a8e6904b9" providerId="ADAL" clId="{5A981E7F-9FB7-48E2-8C6B-167A918A6829}" dt="2024-04-16T15:06:09.902" v="2276" actId="478"/>
          <ac:picMkLst>
            <pc:docMk/>
            <pc:sldMk cId="2590585570" sldId="410"/>
            <ac:picMk id="5" creationId="{50A69594-4035-8EB1-0CCA-D1E192039F43}"/>
          </ac:picMkLst>
        </pc:picChg>
        <pc:picChg chg="add mod">
          <ac:chgData name="Bosma, Janneke" userId="fbc09de8-61da-4812-b08f-019a8e6904b9" providerId="ADAL" clId="{5A981E7F-9FB7-48E2-8C6B-167A918A6829}" dt="2024-04-16T15:07:04.220" v="2339" actId="1076"/>
          <ac:picMkLst>
            <pc:docMk/>
            <pc:sldMk cId="2590585570" sldId="410"/>
            <ac:picMk id="6" creationId="{CCA3C442-7958-81D9-6135-FDA57A71CFEE}"/>
          </ac:picMkLst>
        </pc:picChg>
        <pc:picChg chg="del">
          <ac:chgData name="Bosma, Janneke" userId="fbc09de8-61da-4812-b08f-019a8e6904b9" providerId="ADAL" clId="{5A981E7F-9FB7-48E2-8C6B-167A918A6829}" dt="2024-04-16T15:06:04.037" v="2273" actId="478"/>
          <ac:picMkLst>
            <pc:docMk/>
            <pc:sldMk cId="2590585570" sldId="410"/>
            <ac:picMk id="9" creationId="{F65BD104-FD2F-33A8-9B81-D248B375F723}"/>
          </ac:picMkLst>
        </pc:picChg>
        <pc:cxnChg chg="add mod">
          <ac:chgData name="Bosma, Janneke" userId="fbc09de8-61da-4812-b08f-019a8e6904b9" providerId="ADAL" clId="{5A981E7F-9FB7-48E2-8C6B-167A918A6829}" dt="2024-04-16T15:07:16.749" v="2342" actId="14100"/>
          <ac:cxnSpMkLst>
            <pc:docMk/>
            <pc:sldMk cId="2590585570" sldId="410"/>
            <ac:cxnSpMk id="10" creationId="{75B2F871-1274-4D39-B5AD-389FDCE58C5D}"/>
          </ac:cxnSpMkLst>
        </pc:cxnChg>
        <pc:cxnChg chg="add">
          <ac:chgData name="Bosma, Janneke" userId="fbc09de8-61da-4812-b08f-019a8e6904b9" providerId="ADAL" clId="{5A981E7F-9FB7-48E2-8C6B-167A918A6829}" dt="2024-04-16T15:07:23.838" v="2343" actId="11529"/>
          <ac:cxnSpMkLst>
            <pc:docMk/>
            <pc:sldMk cId="2590585570" sldId="410"/>
            <ac:cxnSpMk id="13" creationId="{4B31C844-8014-279F-8970-83BB119EC1C8}"/>
          </ac:cxnSpMkLst>
        </pc:cxnChg>
      </pc:sldChg>
      <pc:sldChg chg="delSp modSp add mod ord">
        <pc:chgData name="Bosma, Janneke" userId="fbc09de8-61da-4812-b08f-019a8e6904b9" providerId="ADAL" clId="{5A981E7F-9FB7-48E2-8C6B-167A918A6829}" dt="2024-04-30T08:49:20.876" v="13276" actId="13926"/>
        <pc:sldMkLst>
          <pc:docMk/>
          <pc:sldMk cId="3612393912" sldId="411"/>
        </pc:sldMkLst>
        <pc:spChg chg="mod">
          <ac:chgData name="Bosma, Janneke" userId="fbc09de8-61da-4812-b08f-019a8e6904b9" providerId="ADAL" clId="{5A981E7F-9FB7-48E2-8C6B-167A918A6829}" dt="2024-04-16T15:09:34.599" v="2482" actId="20577"/>
          <ac:spMkLst>
            <pc:docMk/>
            <pc:sldMk cId="3612393912" sldId="411"/>
            <ac:spMk id="2" creationId="{66EECF1F-3A3A-48A9-AF99-34EA2FE500E0}"/>
          </ac:spMkLst>
        </pc:spChg>
        <pc:spChg chg="del">
          <ac:chgData name="Bosma, Janneke" userId="fbc09de8-61da-4812-b08f-019a8e6904b9" providerId="ADAL" clId="{5A981E7F-9FB7-48E2-8C6B-167A918A6829}" dt="2024-04-16T15:09:30.970" v="2475" actId="478"/>
          <ac:spMkLst>
            <pc:docMk/>
            <pc:sldMk cId="3612393912" sldId="411"/>
            <ac:spMk id="3" creationId="{9474203A-16DC-8278-3599-DFD1EAB492B9}"/>
          </ac:spMkLst>
        </pc:spChg>
        <pc:spChg chg="mod">
          <ac:chgData name="Bosma, Janneke" userId="fbc09de8-61da-4812-b08f-019a8e6904b9" providerId="ADAL" clId="{5A981E7F-9FB7-48E2-8C6B-167A918A6829}" dt="2024-04-30T08:49:20.876" v="13276" actId="13926"/>
          <ac:spMkLst>
            <pc:docMk/>
            <pc:sldMk cId="3612393912" sldId="411"/>
            <ac:spMk id="5" creationId="{40BEEE44-7F2B-BDF1-A14B-33D44B17EE26}"/>
          </ac:spMkLst>
        </pc:spChg>
        <pc:spChg chg="del">
          <ac:chgData name="Bosma, Janneke" userId="fbc09de8-61da-4812-b08f-019a8e6904b9" providerId="ADAL" clId="{5A981E7F-9FB7-48E2-8C6B-167A918A6829}" dt="2024-04-16T15:09:07.344" v="2465" actId="478"/>
          <ac:spMkLst>
            <pc:docMk/>
            <pc:sldMk cId="3612393912" sldId="411"/>
            <ac:spMk id="15" creationId="{3FE970CF-3726-498A-35BF-B4D0EDECA522}"/>
          </ac:spMkLst>
        </pc:spChg>
        <pc:spChg chg="del">
          <ac:chgData name="Bosma, Janneke" userId="fbc09de8-61da-4812-b08f-019a8e6904b9" providerId="ADAL" clId="{5A981E7F-9FB7-48E2-8C6B-167A918A6829}" dt="2024-04-16T15:09:09.962" v="2466" actId="478"/>
          <ac:spMkLst>
            <pc:docMk/>
            <pc:sldMk cId="3612393912" sldId="411"/>
            <ac:spMk id="16" creationId="{C8C4239A-55BC-C08E-0233-FBAF7402FFCE}"/>
          </ac:spMkLst>
        </pc:spChg>
        <pc:spChg chg="del">
          <ac:chgData name="Bosma, Janneke" userId="fbc09de8-61da-4812-b08f-019a8e6904b9" providerId="ADAL" clId="{5A981E7F-9FB7-48E2-8C6B-167A918A6829}" dt="2024-04-16T15:09:19.057" v="2471" actId="478"/>
          <ac:spMkLst>
            <pc:docMk/>
            <pc:sldMk cId="3612393912" sldId="411"/>
            <ac:spMk id="17" creationId="{C6666324-72F1-A963-5283-F77ED19FD255}"/>
          </ac:spMkLst>
        </pc:spChg>
        <pc:picChg chg="del">
          <ac:chgData name="Bosma, Janneke" userId="fbc09de8-61da-4812-b08f-019a8e6904b9" providerId="ADAL" clId="{5A981E7F-9FB7-48E2-8C6B-167A918A6829}" dt="2024-04-16T15:09:16.823" v="2470" actId="478"/>
          <ac:picMkLst>
            <pc:docMk/>
            <pc:sldMk cId="3612393912" sldId="411"/>
            <ac:picMk id="7" creationId="{D72BBCAA-B857-7FBD-06FF-B75D87414B3E}"/>
          </ac:picMkLst>
        </pc:picChg>
        <pc:picChg chg="del">
          <ac:chgData name="Bosma, Janneke" userId="fbc09de8-61da-4812-b08f-019a8e6904b9" providerId="ADAL" clId="{5A981E7F-9FB7-48E2-8C6B-167A918A6829}" dt="2024-04-16T15:09:11.509" v="2467" actId="478"/>
          <ac:picMkLst>
            <pc:docMk/>
            <pc:sldMk cId="3612393912" sldId="411"/>
            <ac:picMk id="10" creationId="{1348F7BB-BA51-CF3A-F363-7285EC19F8D1}"/>
          </ac:picMkLst>
        </pc:picChg>
        <pc:cxnChg chg="del">
          <ac:chgData name="Bosma, Janneke" userId="fbc09de8-61da-4812-b08f-019a8e6904b9" providerId="ADAL" clId="{5A981E7F-9FB7-48E2-8C6B-167A918A6829}" dt="2024-04-16T15:09:15.182" v="2469" actId="478"/>
          <ac:cxnSpMkLst>
            <pc:docMk/>
            <pc:sldMk cId="3612393912" sldId="411"/>
            <ac:cxnSpMk id="12" creationId="{41476F61-CD69-D03C-B7C9-373381E3C34F}"/>
          </ac:cxnSpMkLst>
        </pc:cxnChg>
        <pc:cxnChg chg="del">
          <ac:chgData name="Bosma, Janneke" userId="fbc09de8-61da-4812-b08f-019a8e6904b9" providerId="ADAL" clId="{5A981E7F-9FB7-48E2-8C6B-167A918A6829}" dt="2024-04-16T15:09:13.555" v="2468" actId="478"/>
          <ac:cxnSpMkLst>
            <pc:docMk/>
            <pc:sldMk cId="3612393912" sldId="411"/>
            <ac:cxnSpMk id="13" creationId="{BAEA0D44-7839-AEFA-9A19-C42F3BD8A235}"/>
          </ac:cxnSpMkLst>
        </pc:cxnChg>
      </pc:sldChg>
      <pc:sldChg chg="addSp delSp modSp add mod">
        <pc:chgData name="Bosma, Janneke" userId="fbc09de8-61da-4812-b08f-019a8e6904b9" providerId="ADAL" clId="{5A981E7F-9FB7-48E2-8C6B-167A918A6829}" dt="2024-04-16T15:45:22.638" v="6711" actId="20577"/>
        <pc:sldMkLst>
          <pc:docMk/>
          <pc:sldMk cId="2758261774" sldId="412"/>
        </pc:sldMkLst>
        <pc:spChg chg="mod">
          <ac:chgData name="Bosma, Janneke" userId="fbc09de8-61da-4812-b08f-019a8e6904b9" providerId="ADAL" clId="{5A981E7F-9FB7-48E2-8C6B-167A918A6829}" dt="2024-04-16T15:45:22.638" v="6711" actId="20577"/>
          <ac:spMkLst>
            <pc:docMk/>
            <pc:sldMk cId="2758261774" sldId="412"/>
            <ac:spMk id="2" creationId="{66EECF1F-3A3A-48A9-AF99-34EA2FE500E0}"/>
          </ac:spMkLst>
        </pc:spChg>
        <pc:spChg chg="mod">
          <ac:chgData name="Bosma, Janneke" userId="fbc09de8-61da-4812-b08f-019a8e6904b9" providerId="ADAL" clId="{5A981E7F-9FB7-48E2-8C6B-167A918A6829}" dt="2024-04-16T15:41:41.725" v="6436" actId="20577"/>
          <ac:spMkLst>
            <pc:docMk/>
            <pc:sldMk cId="2758261774" sldId="412"/>
            <ac:spMk id="3" creationId="{9474203A-16DC-8278-3599-DFD1EAB492B9}"/>
          </ac:spMkLst>
        </pc:spChg>
        <pc:spChg chg="mod">
          <ac:chgData name="Bosma, Janneke" userId="fbc09de8-61da-4812-b08f-019a8e6904b9" providerId="ADAL" clId="{5A981E7F-9FB7-48E2-8C6B-167A918A6829}" dt="2024-04-16T15:25:25.052" v="4268" actId="20577"/>
          <ac:spMkLst>
            <pc:docMk/>
            <pc:sldMk cId="2758261774" sldId="412"/>
            <ac:spMk id="7" creationId="{6130060B-082D-F851-D95A-F23B46F433C6}"/>
          </ac:spMkLst>
        </pc:spChg>
        <pc:picChg chg="add mod">
          <ac:chgData name="Bosma, Janneke" userId="fbc09de8-61da-4812-b08f-019a8e6904b9" providerId="ADAL" clId="{5A981E7F-9FB7-48E2-8C6B-167A918A6829}" dt="2024-04-16T15:24:30.593" v="4088" actId="1076"/>
          <ac:picMkLst>
            <pc:docMk/>
            <pc:sldMk cId="2758261774" sldId="412"/>
            <ac:picMk id="5" creationId="{CAD11CA8-85F1-C671-E7D8-0F6A9333926C}"/>
          </ac:picMkLst>
        </pc:picChg>
        <pc:picChg chg="del">
          <ac:chgData name="Bosma, Janneke" userId="fbc09de8-61da-4812-b08f-019a8e6904b9" providerId="ADAL" clId="{5A981E7F-9FB7-48E2-8C6B-167A918A6829}" dt="2024-04-16T15:22:43.185" v="3765" actId="478"/>
          <ac:picMkLst>
            <pc:docMk/>
            <pc:sldMk cId="2758261774" sldId="412"/>
            <ac:picMk id="6" creationId="{CCA3C442-7958-81D9-6135-FDA57A71CFEE}"/>
          </ac:picMkLst>
        </pc:picChg>
        <pc:cxnChg chg="del">
          <ac:chgData name="Bosma, Janneke" userId="fbc09de8-61da-4812-b08f-019a8e6904b9" providerId="ADAL" clId="{5A981E7F-9FB7-48E2-8C6B-167A918A6829}" dt="2024-04-16T15:22:47.648" v="3767" actId="478"/>
          <ac:cxnSpMkLst>
            <pc:docMk/>
            <pc:sldMk cId="2758261774" sldId="412"/>
            <ac:cxnSpMk id="10" creationId="{75B2F871-1274-4D39-B5AD-389FDCE58C5D}"/>
          </ac:cxnSpMkLst>
        </pc:cxnChg>
        <pc:cxnChg chg="del">
          <ac:chgData name="Bosma, Janneke" userId="fbc09de8-61da-4812-b08f-019a8e6904b9" providerId="ADAL" clId="{5A981E7F-9FB7-48E2-8C6B-167A918A6829}" dt="2024-04-16T15:22:45.472" v="3766" actId="478"/>
          <ac:cxnSpMkLst>
            <pc:docMk/>
            <pc:sldMk cId="2758261774" sldId="412"/>
            <ac:cxnSpMk id="13" creationId="{4B31C844-8014-279F-8970-83BB119EC1C8}"/>
          </ac:cxnSpMkLst>
        </pc:cxnChg>
      </pc:sldChg>
      <pc:sldChg chg="addSp delSp modSp add mod">
        <pc:chgData name="Bosma, Janneke" userId="fbc09de8-61da-4812-b08f-019a8e6904b9" providerId="ADAL" clId="{5A981E7F-9FB7-48E2-8C6B-167A918A6829}" dt="2024-04-16T15:45:27.159" v="6714" actId="20577"/>
        <pc:sldMkLst>
          <pc:docMk/>
          <pc:sldMk cId="1098907144" sldId="413"/>
        </pc:sldMkLst>
        <pc:spChg chg="mod">
          <ac:chgData name="Bosma, Janneke" userId="fbc09de8-61da-4812-b08f-019a8e6904b9" providerId="ADAL" clId="{5A981E7F-9FB7-48E2-8C6B-167A918A6829}" dt="2024-04-16T15:45:27.159" v="6714" actId="20577"/>
          <ac:spMkLst>
            <pc:docMk/>
            <pc:sldMk cId="1098907144" sldId="413"/>
            <ac:spMk id="2" creationId="{66EECF1F-3A3A-48A9-AF99-34EA2FE500E0}"/>
          </ac:spMkLst>
        </pc:spChg>
        <pc:spChg chg="mod">
          <ac:chgData name="Bosma, Janneke" userId="fbc09de8-61da-4812-b08f-019a8e6904b9" providerId="ADAL" clId="{5A981E7F-9FB7-48E2-8C6B-167A918A6829}" dt="2024-04-16T15:41:46.678" v="6438" actId="20577"/>
          <ac:spMkLst>
            <pc:docMk/>
            <pc:sldMk cId="1098907144" sldId="413"/>
            <ac:spMk id="3" creationId="{9474203A-16DC-8278-3599-DFD1EAB492B9}"/>
          </ac:spMkLst>
        </pc:spChg>
        <pc:spChg chg="mod">
          <ac:chgData name="Bosma, Janneke" userId="fbc09de8-61da-4812-b08f-019a8e6904b9" providerId="ADAL" clId="{5A981E7F-9FB7-48E2-8C6B-167A918A6829}" dt="2024-04-16T15:33:00.627" v="5886" actId="20577"/>
          <ac:spMkLst>
            <pc:docMk/>
            <pc:sldMk cId="1098907144" sldId="413"/>
            <ac:spMk id="7" creationId="{6130060B-082D-F851-D95A-F23B46F433C6}"/>
          </ac:spMkLst>
        </pc:spChg>
        <pc:spChg chg="add mod">
          <ac:chgData name="Bosma, Janneke" userId="fbc09de8-61da-4812-b08f-019a8e6904b9" providerId="ADAL" clId="{5A981E7F-9FB7-48E2-8C6B-167A918A6829}" dt="2024-04-16T15:26:44.230" v="4414" actId="1076"/>
          <ac:spMkLst>
            <pc:docMk/>
            <pc:sldMk cId="1098907144" sldId="413"/>
            <ac:spMk id="8" creationId="{31E69D94-6789-B12A-8F82-9A53326D89FA}"/>
          </ac:spMkLst>
        </pc:spChg>
        <pc:spChg chg="add mod">
          <ac:chgData name="Bosma, Janneke" userId="fbc09de8-61da-4812-b08f-019a8e6904b9" providerId="ADAL" clId="{5A981E7F-9FB7-48E2-8C6B-167A918A6829}" dt="2024-04-16T15:29:15.804" v="4649" actId="1076"/>
          <ac:spMkLst>
            <pc:docMk/>
            <pc:sldMk cId="1098907144" sldId="413"/>
            <ac:spMk id="11" creationId="{23DABE27-BCF8-E79C-1E27-C2787B9F1634}"/>
          </ac:spMkLst>
        </pc:spChg>
        <pc:picChg chg="del">
          <ac:chgData name="Bosma, Janneke" userId="fbc09de8-61da-4812-b08f-019a8e6904b9" providerId="ADAL" clId="{5A981E7F-9FB7-48E2-8C6B-167A918A6829}" dt="2024-04-16T15:25:31.624" v="4270" actId="478"/>
          <ac:picMkLst>
            <pc:docMk/>
            <pc:sldMk cId="1098907144" sldId="413"/>
            <ac:picMk id="5" creationId="{CAD11CA8-85F1-C671-E7D8-0F6A9333926C}"/>
          </ac:picMkLst>
        </pc:picChg>
        <pc:picChg chg="add mod">
          <ac:chgData name="Bosma, Janneke" userId="fbc09de8-61da-4812-b08f-019a8e6904b9" providerId="ADAL" clId="{5A981E7F-9FB7-48E2-8C6B-167A918A6829}" dt="2024-04-16T15:28:41.492" v="4570" actId="1076"/>
          <ac:picMkLst>
            <pc:docMk/>
            <pc:sldMk cId="1098907144" sldId="413"/>
            <ac:picMk id="6" creationId="{4FB682C9-4999-8FBA-E55C-0AF87EA3846D}"/>
          </ac:picMkLst>
        </pc:picChg>
        <pc:picChg chg="add mod modCrop">
          <ac:chgData name="Bosma, Janneke" userId="fbc09de8-61da-4812-b08f-019a8e6904b9" providerId="ADAL" clId="{5A981E7F-9FB7-48E2-8C6B-167A918A6829}" dt="2024-04-16T15:29:11.931" v="4648" actId="1076"/>
          <ac:picMkLst>
            <pc:docMk/>
            <pc:sldMk cId="1098907144" sldId="413"/>
            <ac:picMk id="10" creationId="{4CD09381-CBC4-99DD-4CCC-B57E00B181C8}"/>
          </ac:picMkLst>
        </pc:picChg>
      </pc:sldChg>
      <pc:sldChg chg="addSp delSp modSp add mod ord">
        <pc:chgData name="Bosma, Janneke" userId="fbc09de8-61da-4812-b08f-019a8e6904b9" providerId="ADAL" clId="{5A981E7F-9FB7-48E2-8C6B-167A918A6829}" dt="2024-04-16T15:44:20.129" v="6647" actId="20577"/>
        <pc:sldMkLst>
          <pc:docMk/>
          <pc:sldMk cId="2483256213" sldId="414"/>
        </pc:sldMkLst>
        <pc:spChg chg="mod">
          <ac:chgData name="Bosma, Janneke" userId="fbc09de8-61da-4812-b08f-019a8e6904b9" providerId="ADAL" clId="{5A981E7F-9FB7-48E2-8C6B-167A918A6829}" dt="2024-04-16T15:44:20.129" v="6647" actId="20577"/>
          <ac:spMkLst>
            <pc:docMk/>
            <pc:sldMk cId="2483256213" sldId="414"/>
            <ac:spMk id="2" creationId="{66EECF1F-3A3A-48A9-AF99-34EA2FE500E0}"/>
          </ac:spMkLst>
        </pc:spChg>
        <pc:spChg chg="mod">
          <ac:chgData name="Bosma, Janneke" userId="fbc09de8-61da-4812-b08f-019a8e6904b9" providerId="ADAL" clId="{5A981E7F-9FB7-48E2-8C6B-167A918A6829}" dt="2024-04-16T15:41:49.936" v="6440" actId="20577"/>
          <ac:spMkLst>
            <pc:docMk/>
            <pc:sldMk cId="2483256213" sldId="414"/>
            <ac:spMk id="3" creationId="{9474203A-16DC-8278-3599-DFD1EAB492B9}"/>
          </ac:spMkLst>
        </pc:spChg>
        <pc:spChg chg="add del">
          <ac:chgData name="Bosma, Janneke" userId="fbc09de8-61da-4812-b08f-019a8e6904b9" providerId="ADAL" clId="{5A981E7F-9FB7-48E2-8C6B-167A918A6829}" dt="2024-04-16T15:35:49.024" v="5903"/>
          <ac:spMkLst>
            <pc:docMk/>
            <pc:sldMk cId="2483256213" sldId="414"/>
            <ac:spMk id="4" creationId="{BBB0C955-89D1-DF47-3EDB-D8603C616FE5}"/>
          </ac:spMkLst>
        </pc:spChg>
        <pc:spChg chg="mod">
          <ac:chgData name="Bosma, Janneke" userId="fbc09de8-61da-4812-b08f-019a8e6904b9" providerId="ADAL" clId="{5A981E7F-9FB7-48E2-8C6B-167A918A6829}" dt="2024-04-16T15:41:14.846" v="6434" actId="20577"/>
          <ac:spMkLst>
            <pc:docMk/>
            <pc:sldMk cId="2483256213" sldId="414"/>
            <ac:spMk id="7" creationId="{6130060B-082D-F851-D95A-F23B46F433C6}"/>
          </ac:spMkLst>
        </pc:spChg>
        <pc:picChg chg="del">
          <ac:chgData name="Bosma, Janneke" userId="fbc09de8-61da-4812-b08f-019a8e6904b9" providerId="ADAL" clId="{5A981E7F-9FB7-48E2-8C6B-167A918A6829}" dt="2024-04-16T15:33:10.980" v="5892" actId="478"/>
          <ac:picMkLst>
            <pc:docMk/>
            <pc:sldMk cId="2483256213" sldId="414"/>
            <ac:picMk id="6" creationId="{CCA3C442-7958-81D9-6135-FDA57A71CFEE}"/>
          </ac:picMkLst>
        </pc:picChg>
        <pc:cxnChg chg="del">
          <ac:chgData name="Bosma, Janneke" userId="fbc09de8-61da-4812-b08f-019a8e6904b9" providerId="ADAL" clId="{5A981E7F-9FB7-48E2-8C6B-167A918A6829}" dt="2024-04-16T15:33:09.143" v="5891" actId="478"/>
          <ac:cxnSpMkLst>
            <pc:docMk/>
            <pc:sldMk cId="2483256213" sldId="414"/>
            <ac:cxnSpMk id="10" creationId="{75B2F871-1274-4D39-B5AD-389FDCE58C5D}"/>
          </ac:cxnSpMkLst>
        </pc:cxnChg>
        <pc:cxnChg chg="del">
          <ac:chgData name="Bosma, Janneke" userId="fbc09de8-61da-4812-b08f-019a8e6904b9" providerId="ADAL" clId="{5A981E7F-9FB7-48E2-8C6B-167A918A6829}" dt="2024-04-16T15:33:08.458" v="5890" actId="478"/>
          <ac:cxnSpMkLst>
            <pc:docMk/>
            <pc:sldMk cId="2483256213" sldId="414"/>
            <ac:cxnSpMk id="13" creationId="{4B31C844-8014-279F-8970-83BB119EC1C8}"/>
          </ac:cxnSpMkLst>
        </pc:cxnChg>
      </pc:sldChg>
      <pc:sldChg chg="addSp delSp modSp add mod">
        <pc:chgData name="Bosma, Janneke" userId="fbc09de8-61da-4812-b08f-019a8e6904b9" providerId="ADAL" clId="{5A981E7F-9FB7-48E2-8C6B-167A918A6829}" dt="2024-04-30T08:50:20.842" v="13281" actId="13926"/>
        <pc:sldMkLst>
          <pc:docMk/>
          <pc:sldMk cId="4044825837" sldId="415"/>
        </pc:sldMkLst>
        <pc:spChg chg="mod">
          <ac:chgData name="Bosma, Janneke" userId="fbc09de8-61da-4812-b08f-019a8e6904b9" providerId="ADAL" clId="{5A981E7F-9FB7-48E2-8C6B-167A918A6829}" dt="2024-04-16T15:44:45.302" v="6707" actId="20577"/>
          <ac:spMkLst>
            <pc:docMk/>
            <pc:sldMk cId="4044825837" sldId="415"/>
            <ac:spMk id="2" creationId="{66EECF1F-3A3A-48A9-AF99-34EA2FE500E0}"/>
          </ac:spMkLst>
        </pc:spChg>
        <pc:spChg chg="mod">
          <ac:chgData name="Bosma, Janneke" userId="fbc09de8-61da-4812-b08f-019a8e6904b9" providerId="ADAL" clId="{5A981E7F-9FB7-48E2-8C6B-167A918A6829}" dt="2024-04-16T15:42:15.638" v="6443" actId="20577"/>
          <ac:spMkLst>
            <pc:docMk/>
            <pc:sldMk cId="4044825837" sldId="415"/>
            <ac:spMk id="3" creationId="{9474203A-16DC-8278-3599-DFD1EAB492B9}"/>
          </ac:spMkLst>
        </pc:spChg>
        <pc:spChg chg="mod">
          <ac:chgData name="Bosma, Janneke" userId="fbc09de8-61da-4812-b08f-019a8e6904b9" providerId="ADAL" clId="{5A981E7F-9FB7-48E2-8C6B-167A918A6829}" dt="2024-04-30T08:50:20.842" v="13281" actId="13926"/>
          <ac:spMkLst>
            <pc:docMk/>
            <pc:sldMk cId="4044825837" sldId="415"/>
            <ac:spMk id="7" creationId="{6130060B-082D-F851-D95A-F23B46F433C6}"/>
          </ac:spMkLst>
        </pc:spChg>
        <pc:picChg chg="add mod">
          <ac:chgData name="Bosma, Janneke" userId="fbc09de8-61da-4812-b08f-019a8e6904b9" providerId="ADAL" clId="{5A981E7F-9FB7-48E2-8C6B-167A918A6829}" dt="2024-04-16T15:47:49.157" v="6961" actId="1076"/>
          <ac:picMkLst>
            <pc:docMk/>
            <pc:sldMk cId="4044825837" sldId="415"/>
            <ac:picMk id="5" creationId="{D284DFF6-961E-1D39-3A52-B384B8196567}"/>
          </ac:picMkLst>
        </pc:picChg>
        <pc:picChg chg="add del">
          <ac:chgData name="Bosma, Janneke" userId="fbc09de8-61da-4812-b08f-019a8e6904b9" providerId="ADAL" clId="{5A981E7F-9FB7-48E2-8C6B-167A918A6829}" dt="2024-04-16T15:47:52.405" v="6963" actId="22"/>
          <ac:picMkLst>
            <pc:docMk/>
            <pc:sldMk cId="4044825837" sldId="415"/>
            <ac:picMk id="8" creationId="{853904F6-0F47-901B-5063-8CCB6287DD40}"/>
          </ac:picMkLst>
        </pc:picChg>
      </pc:sldChg>
      <pc:sldChg chg="addSp delSp modSp add mod">
        <pc:chgData name="Bosma, Janneke" userId="fbc09de8-61da-4812-b08f-019a8e6904b9" providerId="ADAL" clId="{5A981E7F-9FB7-48E2-8C6B-167A918A6829}" dt="2024-04-30T08:50:44.423" v="13284" actId="20577"/>
        <pc:sldMkLst>
          <pc:docMk/>
          <pc:sldMk cId="3853690978" sldId="416"/>
        </pc:sldMkLst>
        <pc:spChg chg="add del mod">
          <ac:chgData name="Bosma, Janneke" userId="fbc09de8-61da-4812-b08f-019a8e6904b9" providerId="ADAL" clId="{5A981E7F-9FB7-48E2-8C6B-167A918A6829}" dt="2024-04-30T08:50:44.423" v="13284" actId="20577"/>
          <ac:spMkLst>
            <pc:docMk/>
            <pc:sldMk cId="3853690978" sldId="416"/>
            <ac:spMk id="7" creationId="{6130060B-082D-F851-D95A-F23B46F433C6}"/>
          </ac:spMkLst>
        </pc:spChg>
        <pc:picChg chg="add mod">
          <ac:chgData name="Bosma, Janneke" userId="fbc09de8-61da-4812-b08f-019a8e6904b9" providerId="ADAL" clId="{5A981E7F-9FB7-48E2-8C6B-167A918A6829}" dt="2024-04-30T08:27:25.539" v="10507" actId="1076"/>
          <ac:picMkLst>
            <pc:docMk/>
            <pc:sldMk cId="3853690978" sldId="416"/>
            <ac:picMk id="5" creationId="{C1FA769F-B94A-0CE5-B5C8-61F9E2126D0E}"/>
          </ac:picMkLst>
        </pc:picChg>
        <pc:picChg chg="del">
          <ac:chgData name="Bosma, Janneke" userId="fbc09de8-61da-4812-b08f-019a8e6904b9" providerId="ADAL" clId="{5A981E7F-9FB7-48E2-8C6B-167A918A6829}" dt="2024-04-16T15:48:19.745" v="6965" actId="478"/>
          <ac:picMkLst>
            <pc:docMk/>
            <pc:sldMk cId="3853690978" sldId="416"/>
            <ac:picMk id="5" creationId="{D284DFF6-961E-1D39-3A52-B384B8196567}"/>
          </ac:picMkLst>
        </pc:picChg>
        <pc:picChg chg="add del mod">
          <ac:chgData name="Bosma, Janneke" userId="fbc09de8-61da-4812-b08f-019a8e6904b9" providerId="ADAL" clId="{5A981E7F-9FB7-48E2-8C6B-167A918A6829}" dt="2024-04-30T08:27:20.345" v="10504" actId="478"/>
          <ac:picMkLst>
            <pc:docMk/>
            <pc:sldMk cId="3853690978" sldId="416"/>
            <ac:picMk id="6" creationId="{52D89314-8661-A8B9-7E87-ADD35855C74A}"/>
          </ac:picMkLst>
        </pc:picChg>
      </pc:sldChg>
      <pc:sldChg chg="addSp delSp modSp add mod">
        <pc:chgData name="Bosma, Janneke" userId="fbc09de8-61da-4812-b08f-019a8e6904b9" providerId="ADAL" clId="{5A981E7F-9FB7-48E2-8C6B-167A918A6829}" dt="2024-04-16T15:56:53.209" v="8259" actId="13822"/>
        <pc:sldMkLst>
          <pc:docMk/>
          <pc:sldMk cId="3669812386" sldId="417"/>
        </pc:sldMkLst>
        <pc:spChg chg="mod">
          <ac:chgData name="Bosma, Janneke" userId="fbc09de8-61da-4812-b08f-019a8e6904b9" providerId="ADAL" clId="{5A981E7F-9FB7-48E2-8C6B-167A918A6829}" dt="2024-04-16T15:56:21.685" v="8252" actId="20577"/>
          <ac:spMkLst>
            <pc:docMk/>
            <pc:sldMk cId="3669812386" sldId="417"/>
            <ac:spMk id="7" creationId="{6130060B-082D-F851-D95A-F23B46F433C6}"/>
          </ac:spMkLst>
        </pc:spChg>
        <pc:picChg chg="add mod">
          <ac:chgData name="Bosma, Janneke" userId="fbc09de8-61da-4812-b08f-019a8e6904b9" providerId="ADAL" clId="{5A981E7F-9FB7-48E2-8C6B-167A918A6829}" dt="2024-04-16T15:56:23.388" v="8253" actId="1076"/>
          <ac:picMkLst>
            <pc:docMk/>
            <pc:sldMk cId="3669812386" sldId="417"/>
            <ac:picMk id="5" creationId="{E6DCF8B3-445E-38A3-E0B3-F6E7EF7BA983}"/>
          </ac:picMkLst>
        </pc:picChg>
        <pc:picChg chg="del">
          <ac:chgData name="Bosma, Janneke" userId="fbc09de8-61da-4812-b08f-019a8e6904b9" providerId="ADAL" clId="{5A981E7F-9FB7-48E2-8C6B-167A918A6829}" dt="2024-04-16T15:51:29.445" v="7629" actId="478"/>
          <ac:picMkLst>
            <pc:docMk/>
            <pc:sldMk cId="3669812386" sldId="417"/>
            <ac:picMk id="6" creationId="{52D89314-8661-A8B9-7E87-ADD35855C74A}"/>
          </ac:picMkLst>
        </pc:picChg>
        <pc:cxnChg chg="add mod">
          <ac:chgData name="Bosma, Janneke" userId="fbc09de8-61da-4812-b08f-019a8e6904b9" providerId="ADAL" clId="{5A981E7F-9FB7-48E2-8C6B-167A918A6829}" dt="2024-04-16T15:56:53.209" v="8259" actId="13822"/>
          <ac:cxnSpMkLst>
            <pc:docMk/>
            <pc:sldMk cId="3669812386" sldId="417"/>
            <ac:cxnSpMk id="9" creationId="{EBB37A7A-64AB-FA76-5C75-198079249833}"/>
          </ac:cxnSpMkLst>
        </pc:cxnChg>
        <pc:cxnChg chg="add mod">
          <ac:chgData name="Bosma, Janneke" userId="fbc09de8-61da-4812-b08f-019a8e6904b9" providerId="ADAL" clId="{5A981E7F-9FB7-48E2-8C6B-167A918A6829}" dt="2024-04-16T15:56:51.019" v="8258" actId="13822"/>
          <ac:cxnSpMkLst>
            <pc:docMk/>
            <pc:sldMk cId="3669812386" sldId="417"/>
            <ac:cxnSpMk id="11" creationId="{FECDDC52-2CC4-7BDB-4690-A6A8632204D3}"/>
          </ac:cxnSpMkLst>
        </pc:cxnChg>
      </pc:sldChg>
      <pc:sldChg chg="addSp delSp modSp add mod ord">
        <pc:chgData name="Bosma, Janneke" userId="fbc09de8-61da-4812-b08f-019a8e6904b9" providerId="ADAL" clId="{5A981E7F-9FB7-48E2-8C6B-167A918A6829}" dt="2024-04-16T16:05:31.572" v="9073" actId="20577"/>
        <pc:sldMkLst>
          <pc:docMk/>
          <pc:sldMk cId="3739586993" sldId="418"/>
        </pc:sldMkLst>
        <pc:spChg chg="mod">
          <ac:chgData name="Bosma, Janneke" userId="fbc09de8-61da-4812-b08f-019a8e6904b9" providerId="ADAL" clId="{5A981E7F-9FB7-48E2-8C6B-167A918A6829}" dt="2024-04-16T16:05:31.572" v="9073" actId="20577"/>
          <ac:spMkLst>
            <pc:docMk/>
            <pc:sldMk cId="3739586993" sldId="418"/>
            <ac:spMk id="3" creationId="{9474203A-16DC-8278-3599-DFD1EAB492B9}"/>
          </ac:spMkLst>
        </pc:spChg>
        <pc:spChg chg="mod">
          <ac:chgData name="Bosma, Janneke" userId="fbc09de8-61da-4812-b08f-019a8e6904b9" providerId="ADAL" clId="{5A981E7F-9FB7-48E2-8C6B-167A918A6829}" dt="2024-04-16T15:59:47.739" v="8384" actId="1076"/>
          <ac:spMkLst>
            <pc:docMk/>
            <pc:sldMk cId="3739586993" sldId="418"/>
            <ac:spMk id="7" creationId="{6130060B-082D-F851-D95A-F23B46F433C6}"/>
          </ac:spMkLst>
        </pc:spChg>
        <pc:spChg chg="add mod">
          <ac:chgData name="Bosma, Janneke" userId="fbc09de8-61da-4812-b08f-019a8e6904b9" providerId="ADAL" clId="{5A981E7F-9FB7-48E2-8C6B-167A918A6829}" dt="2024-04-16T15:59:52.124" v="8385" actId="1076"/>
          <ac:spMkLst>
            <pc:docMk/>
            <pc:sldMk cId="3739586993" sldId="418"/>
            <ac:spMk id="13" creationId="{FA0BD8ED-5E75-8325-8717-1ABA9F0F635A}"/>
          </ac:spMkLst>
        </pc:spChg>
        <pc:spChg chg="add mod">
          <ac:chgData name="Bosma, Janneke" userId="fbc09de8-61da-4812-b08f-019a8e6904b9" providerId="ADAL" clId="{5A981E7F-9FB7-48E2-8C6B-167A918A6829}" dt="2024-04-16T16:00:11.954" v="8402" actId="20577"/>
          <ac:spMkLst>
            <pc:docMk/>
            <pc:sldMk cId="3739586993" sldId="418"/>
            <ac:spMk id="14" creationId="{B35AA210-CC32-1DE3-DB03-C2B61186BA1B}"/>
          </ac:spMkLst>
        </pc:spChg>
        <pc:spChg chg="add mod">
          <ac:chgData name="Bosma, Janneke" userId="fbc09de8-61da-4812-b08f-019a8e6904b9" providerId="ADAL" clId="{5A981E7F-9FB7-48E2-8C6B-167A918A6829}" dt="2024-04-16T16:00:24.227" v="8407" actId="1076"/>
          <ac:spMkLst>
            <pc:docMk/>
            <pc:sldMk cId="3739586993" sldId="418"/>
            <ac:spMk id="19" creationId="{FE8A4338-CB20-657A-4DB8-B122D66DABDC}"/>
          </ac:spMkLst>
        </pc:spChg>
        <pc:picChg chg="add mod">
          <ac:chgData name="Bosma, Janneke" userId="fbc09de8-61da-4812-b08f-019a8e6904b9" providerId="ADAL" clId="{5A981E7F-9FB7-48E2-8C6B-167A918A6829}" dt="2024-04-16T15:58:57.482" v="8322" actId="1076"/>
          <ac:picMkLst>
            <pc:docMk/>
            <pc:sldMk cId="3739586993" sldId="418"/>
            <ac:picMk id="5" creationId="{CCBD8B7F-B249-53A6-27A5-1D1C3144B3AD}"/>
          </ac:picMkLst>
        </pc:picChg>
        <pc:picChg chg="del">
          <ac:chgData name="Bosma, Janneke" userId="fbc09de8-61da-4812-b08f-019a8e6904b9" providerId="ADAL" clId="{5A981E7F-9FB7-48E2-8C6B-167A918A6829}" dt="2024-04-16T15:57:17.047" v="8264" actId="478"/>
          <ac:picMkLst>
            <pc:docMk/>
            <pc:sldMk cId="3739586993" sldId="418"/>
            <ac:picMk id="6" creationId="{52D89314-8661-A8B9-7E87-ADD35855C74A}"/>
          </ac:picMkLst>
        </pc:picChg>
        <pc:picChg chg="add mod">
          <ac:chgData name="Bosma, Janneke" userId="fbc09de8-61da-4812-b08f-019a8e6904b9" providerId="ADAL" clId="{5A981E7F-9FB7-48E2-8C6B-167A918A6829}" dt="2024-04-16T15:59:16.951" v="8326" actId="1076"/>
          <ac:picMkLst>
            <pc:docMk/>
            <pc:sldMk cId="3739586993" sldId="418"/>
            <ac:picMk id="9" creationId="{D108FD5E-A0FD-AFA1-98A3-ACDE1BC30FE6}"/>
          </ac:picMkLst>
        </pc:picChg>
        <pc:cxnChg chg="add mod">
          <ac:chgData name="Bosma, Janneke" userId="fbc09de8-61da-4812-b08f-019a8e6904b9" providerId="ADAL" clId="{5A981E7F-9FB7-48E2-8C6B-167A918A6829}" dt="2024-04-16T15:59:25.652" v="8328" actId="14100"/>
          <ac:cxnSpMkLst>
            <pc:docMk/>
            <pc:sldMk cId="3739586993" sldId="418"/>
            <ac:cxnSpMk id="11" creationId="{B719257B-7B55-DC43-2E2C-7EF22356D0E3}"/>
          </ac:cxnSpMkLst>
        </pc:cxnChg>
        <pc:cxnChg chg="add mod">
          <ac:chgData name="Bosma, Janneke" userId="fbc09de8-61da-4812-b08f-019a8e6904b9" providerId="ADAL" clId="{5A981E7F-9FB7-48E2-8C6B-167A918A6829}" dt="2024-04-16T16:00:08.665" v="8392" actId="1076"/>
          <ac:cxnSpMkLst>
            <pc:docMk/>
            <pc:sldMk cId="3739586993" sldId="418"/>
            <ac:cxnSpMk id="15" creationId="{F276E797-DC3A-B01B-72F5-06B3B42BEB2A}"/>
          </ac:cxnSpMkLst>
        </pc:cxnChg>
        <pc:cxnChg chg="add mod">
          <ac:chgData name="Bosma, Janneke" userId="fbc09de8-61da-4812-b08f-019a8e6904b9" providerId="ADAL" clId="{5A981E7F-9FB7-48E2-8C6B-167A918A6829}" dt="2024-04-16T16:00:19.457" v="8405" actId="14100"/>
          <ac:cxnSpMkLst>
            <pc:docMk/>
            <pc:sldMk cId="3739586993" sldId="418"/>
            <ac:cxnSpMk id="17" creationId="{D1731E4F-425A-3553-581B-C26B0328C776}"/>
          </ac:cxnSpMkLst>
        </pc:cxnChg>
      </pc:sldChg>
      <pc:sldChg chg="addSp delSp modSp add mod ord">
        <pc:chgData name="Bosma, Janneke" userId="fbc09de8-61da-4812-b08f-019a8e6904b9" providerId="ADAL" clId="{5A981E7F-9FB7-48E2-8C6B-167A918A6829}" dt="2024-04-16T16:05:41.301" v="9075" actId="20577"/>
        <pc:sldMkLst>
          <pc:docMk/>
          <pc:sldMk cId="2495326749" sldId="419"/>
        </pc:sldMkLst>
        <pc:spChg chg="mod">
          <ac:chgData name="Bosma, Janneke" userId="fbc09de8-61da-4812-b08f-019a8e6904b9" providerId="ADAL" clId="{5A981E7F-9FB7-48E2-8C6B-167A918A6829}" dt="2024-04-16T16:01:03.130" v="8456" actId="20577"/>
          <ac:spMkLst>
            <pc:docMk/>
            <pc:sldMk cId="2495326749" sldId="419"/>
            <ac:spMk id="2" creationId="{66EECF1F-3A3A-48A9-AF99-34EA2FE500E0}"/>
          </ac:spMkLst>
        </pc:spChg>
        <pc:spChg chg="mod">
          <ac:chgData name="Bosma, Janneke" userId="fbc09de8-61da-4812-b08f-019a8e6904b9" providerId="ADAL" clId="{5A981E7F-9FB7-48E2-8C6B-167A918A6829}" dt="2024-04-16T16:05:41.301" v="9075" actId="20577"/>
          <ac:spMkLst>
            <pc:docMk/>
            <pc:sldMk cId="2495326749" sldId="419"/>
            <ac:spMk id="3" creationId="{9474203A-16DC-8278-3599-DFD1EAB492B9}"/>
          </ac:spMkLst>
        </pc:spChg>
        <pc:spChg chg="mod">
          <ac:chgData name="Bosma, Janneke" userId="fbc09de8-61da-4812-b08f-019a8e6904b9" providerId="ADAL" clId="{5A981E7F-9FB7-48E2-8C6B-167A918A6829}" dt="2024-04-16T16:05:03.246" v="9036" actId="20577"/>
          <ac:spMkLst>
            <pc:docMk/>
            <pc:sldMk cId="2495326749" sldId="419"/>
            <ac:spMk id="7" creationId="{6130060B-082D-F851-D95A-F23B46F433C6}"/>
          </ac:spMkLst>
        </pc:spChg>
        <pc:spChg chg="add mod">
          <ac:chgData name="Bosma, Janneke" userId="fbc09de8-61da-4812-b08f-019a8e6904b9" providerId="ADAL" clId="{5A981E7F-9FB7-48E2-8C6B-167A918A6829}" dt="2024-04-16T16:03:31.609" v="8905" actId="1582"/>
          <ac:spMkLst>
            <pc:docMk/>
            <pc:sldMk cId="2495326749" sldId="419"/>
            <ac:spMk id="9" creationId="{3840F3AF-C98C-7F54-FFBC-78079F832E78}"/>
          </ac:spMkLst>
        </pc:spChg>
        <pc:spChg chg="add del mod">
          <ac:chgData name="Bosma, Janneke" userId="fbc09de8-61da-4812-b08f-019a8e6904b9" providerId="ADAL" clId="{5A981E7F-9FB7-48E2-8C6B-167A918A6829}" dt="2024-04-16T16:03:49.055" v="8916" actId="478"/>
          <ac:spMkLst>
            <pc:docMk/>
            <pc:sldMk cId="2495326749" sldId="419"/>
            <ac:spMk id="10" creationId="{C5A939A6-899E-A11C-89D0-1DE1F06166C2}"/>
          </ac:spMkLst>
        </pc:spChg>
        <pc:spChg chg="add mod">
          <ac:chgData name="Bosma, Janneke" userId="fbc09de8-61da-4812-b08f-019a8e6904b9" providerId="ADAL" clId="{5A981E7F-9FB7-48E2-8C6B-167A918A6829}" dt="2024-04-16T16:04:25.117" v="8970" actId="1076"/>
          <ac:spMkLst>
            <pc:docMk/>
            <pc:sldMk cId="2495326749" sldId="419"/>
            <ac:spMk id="13" creationId="{5F25A775-3C69-F301-0C1E-4EDFD715C263}"/>
          </ac:spMkLst>
        </pc:spChg>
        <pc:spChg chg="add mod">
          <ac:chgData name="Bosma, Janneke" userId="fbc09de8-61da-4812-b08f-019a8e6904b9" providerId="ADAL" clId="{5A981E7F-9FB7-48E2-8C6B-167A918A6829}" dt="2024-04-16T16:05:13.399" v="9071" actId="20577"/>
          <ac:spMkLst>
            <pc:docMk/>
            <pc:sldMk cId="2495326749" sldId="419"/>
            <ac:spMk id="14" creationId="{ADCF1F87-1BD9-F75C-AC26-52FDF4537FA4}"/>
          </ac:spMkLst>
        </pc:spChg>
        <pc:picChg chg="add mod">
          <ac:chgData name="Bosma, Janneke" userId="fbc09de8-61da-4812-b08f-019a8e6904b9" providerId="ADAL" clId="{5A981E7F-9FB7-48E2-8C6B-167A918A6829}" dt="2024-04-16T16:03:37.030" v="8908" actId="1076"/>
          <ac:picMkLst>
            <pc:docMk/>
            <pc:sldMk cId="2495326749" sldId="419"/>
            <ac:picMk id="5" creationId="{28B81E75-CC6E-F46C-3DCE-0C36972B94C1}"/>
          </ac:picMkLst>
        </pc:picChg>
        <pc:picChg chg="del">
          <ac:chgData name="Bosma, Janneke" userId="fbc09de8-61da-4812-b08f-019a8e6904b9" providerId="ADAL" clId="{5A981E7F-9FB7-48E2-8C6B-167A918A6829}" dt="2024-04-16T16:00:35.255" v="8412" actId="478"/>
          <ac:picMkLst>
            <pc:docMk/>
            <pc:sldMk cId="2495326749" sldId="419"/>
            <ac:picMk id="6" creationId="{52D89314-8661-A8B9-7E87-ADD35855C74A}"/>
          </ac:picMkLst>
        </pc:picChg>
        <pc:picChg chg="add mod">
          <ac:chgData name="Bosma, Janneke" userId="fbc09de8-61da-4812-b08f-019a8e6904b9" providerId="ADAL" clId="{5A981E7F-9FB7-48E2-8C6B-167A918A6829}" dt="2024-04-16T16:02:47.040" v="8889" actId="1076"/>
          <ac:picMkLst>
            <pc:docMk/>
            <pc:sldMk cId="2495326749" sldId="419"/>
            <ac:picMk id="8" creationId="{C9D5CA88-5F7C-ACEA-3B85-08079F4D22D5}"/>
          </ac:picMkLst>
        </pc:picChg>
        <pc:cxnChg chg="add mod">
          <ac:chgData name="Bosma, Janneke" userId="fbc09de8-61da-4812-b08f-019a8e6904b9" providerId="ADAL" clId="{5A981E7F-9FB7-48E2-8C6B-167A918A6829}" dt="2024-04-16T16:04:05.431" v="8921" actId="1582"/>
          <ac:cxnSpMkLst>
            <pc:docMk/>
            <pc:sldMk cId="2495326749" sldId="419"/>
            <ac:cxnSpMk id="12" creationId="{3A2EE3B1-DFF6-213B-F4EE-14469A3782B7}"/>
          </ac:cxnSpMkLst>
        </pc:cxnChg>
      </pc:sldChg>
      <pc:sldChg chg="addSp delSp modSp add mod">
        <pc:chgData name="Bosma, Janneke" userId="fbc09de8-61da-4812-b08f-019a8e6904b9" providerId="ADAL" clId="{5A981E7F-9FB7-48E2-8C6B-167A918A6829}" dt="2024-04-16T16:09:56.163" v="9511"/>
        <pc:sldMkLst>
          <pc:docMk/>
          <pc:sldMk cId="2388035959" sldId="420"/>
        </pc:sldMkLst>
        <pc:spChg chg="mod">
          <ac:chgData name="Bosma, Janneke" userId="fbc09de8-61da-4812-b08f-019a8e6904b9" providerId="ADAL" clId="{5A981E7F-9FB7-48E2-8C6B-167A918A6829}" dt="2024-04-16T16:06:03.777" v="9117" actId="20577"/>
          <ac:spMkLst>
            <pc:docMk/>
            <pc:sldMk cId="2388035959" sldId="420"/>
            <ac:spMk id="2" creationId="{66EECF1F-3A3A-48A9-AF99-34EA2FE500E0}"/>
          </ac:spMkLst>
        </pc:spChg>
        <pc:spChg chg="add mod">
          <ac:chgData name="Bosma, Janneke" userId="fbc09de8-61da-4812-b08f-019a8e6904b9" providerId="ADAL" clId="{5A981E7F-9FB7-48E2-8C6B-167A918A6829}" dt="2024-04-16T16:06:53.366" v="9137" actId="14100"/>
          <ac:spMkLst>
            <pc:docMk/>
            <pc:sldMk cId="2388035959" sldId="420"/>
            <ac:spMk id="6" creationId="{5CA7B7F6-9D7A-79D5-A790-A36EC9C3ABC3}"/>
          </ac:spMkLst>
        </pc:spChg>
        <pc:spChg chg="del mod">
          <ac:chgData name="Bosma, Janneke" userId="fbc09de8-61da-4812-b08f-019a8e6904b9" providerId="ADAL" clId="{5A981E7F-9FB7-48E2-8C6B-167A918A6829}" dt="2024-04-16T16:06:32.988" v="9134"/>
          <ac:spMkLst>
            <pc:docMk/>
            <pc:sldMk cId="2388035959" sldId="420"/>
            <ac:spMk id="7" creationId="{6130060B-082D-F851-D95A-F23B46F433C6}"/>
          </ac:spMkLst>
        </pc:spChg>
        <pc:spChg chg="del">
          <ac:chgData name="Bosma, Janneke" userId="fbc09de8-61da-4812-b08f-019a8e6904b9" providerId="ADAL" clId="{5A981E7F-9FB7-48E2-8C6B-167A918A6829}" dt="2024-04-16T16:06:10.055" v="9122" actId="478"/>
          <ac:spMkLst>
            <pc:docMk/>
            <pc:sldMk cId="2388035959" sldId="420"/>
            <ac:spMk id="9" creationId="{3840F3AF-C98C-7F54-FFBC-78079F832E78}"/>
          </ac:spMkLst>
        </pc:spChg>
        <pc:spChg chg="add mod">
          <ac:chgData name="Bosma, Janneke" userId="fbc09de8-61da-4812-b08f-019a8e6904b9" providerId="ADAL" clId="{5A981E7F-9FB7-48E2-8C6B-167A918A6829}" dt="2024-04-16T16:07:03.615" v="9140" actId="14100"/>
          <ac:spMkLst>
            <pc:docMk/>
            <pc:sldMk cId="2388035959" sldId="420"/>
            <ac:spMk id="10" creationId="{7C656FFF-65B9-C1B8-ED1F-A7D7992E6A56}"/>
          </ac:spMkLst>
        </pc:spChg>
        <pc:spChg chg="del">
          <ac:chgData name="Bosma, Janneke" userId="fbc09de8-61da-4812-b08f-019a8e6904b9" providerId="ADAL" clId="{5A981E7F-9FB7-48E2-8C6B-167A918A6829}" dt="2024-04-16T16:06:08.341" v="9119" actId="478"/>
          <ac:spMkLst>
            <pc:docMk/>
            <pc:sldMk cId="2388035959" sldId="420"/>
            <ac:spMk id="13" creationId="{5F25A775-3C69-F301-0C1E-4EDFD715C263}"/>
          </ac:spMkLst>
        </pc:spChg>
        <pc:spChg chg="del">
          <ac:chgData name="Bosma, Janneke" userId="fbc09de8-61da-4812-b08f-019a8e6904b9" providerId="ADAL" clId="{5A981E7F-9FB7-48E2-8C6B-167A918A6829}" dt="2024-04-16T16:06:06.679" v="9118" actId="478"/>
          <ac:spMkLst>
            <pc:docMk/>
            <pc:sldMk cId="2388035959" sldId="420"/>
            <ac:spMk id="14" creationId="{ADCF1F87-1BD9-F75C-AC26-52FDF4537FA4}"/>
          </ac:spMkLst>
        </pc:spChg>
        <pc:spChg chg="add mod">
          <ac:chgData name="Bosma, Janneke" userId="fbc09de8-61da-4812-b08f-019a8e6904b9" providerId="ADAL" clId="{5A981E7F-9FB7-48E2-8C6B-167A918A6829}" dt="2024-04-16T16:08:14.426" v="9206" actId="1076"/>
          <ac:spMkLst>
            <pc:docMk/>
            <pc:sldMk cId="2388035959" sldId="420"/>
            <ac:spMk id="17" creationId="{90835E28-2F73-5405-7011-F118791CE24B}"/>
          </ac:spMkLst>
        </pc:spChg>
        <pc:spChg chg="add mod">
          <ac:chgData name="Bosma, Janneke" userId="fbc09de8-61da-4812-b08f-019a8e6904b9" providerId="ADAL" clId="{5A981E7F-9FB7-48E2-8C6B-167A918A6829}" dt="2024-04-16T16:08:23.966" v="9209" actId="1076"/>
          <ac:spMkLst>
            <pc:docMk/>
            <pc:sldMk cId="2388035959" sldId="420"/>
            <ac:spMk id="18" creationId="{19F6B2BB-16C2-0EE6-FEA5-67E50A58FF9D}"/>
          </ac:spMkLst>
        </pc:spChg>
        <pc:spChg chg="add mod">
          <ac:chgData name="Bosma, Janneke" userId="fbc09de8-61da-4812-b08f-019a8e6904b9" providerId="ADAL" clId="{5A981E7F-9FB7-48E2-8C6B-167A918A6829}" dt="2024-04-16T16:09:14.558" v="9380" actId="1076"/>
          <ac:spMkLst>
            <pc:docMk/>
            <pc:sldMk cId="2388035959" sldId="420"/>
            <ac:spMk id="19" creationId="{CFAAC475-4B62-0FF7-A0F2-B7EC9802B226}"/>
          </ac:spMkLst>
        </pc:spChg>
        <pc:spChg chg="add mod">
          <ac:chgData name="Bosma, Janneke" userId="fbc09de8-61da-4812-b08f-019a8e6904b9" providerId="ADAL" clId="{5A981E7F-9FB7-48E2-8C6B-167A918A6829}" dt="2024-04-16T16:09:49.907" v="9509" actId="20577"/>
          <ac:spMkLst>
            <pc:docMk/>
            <pc:sldMk cId="2388035959" sldId="420"/>
            <ac:spMk id="20" creationId="{3A0C3F1E-2F5A-33F9-FFBB-09FFC74E6445}"/>
          </ac:spMkLst>
        </pc:spChg>
        <pc:spChg chg="add del mod">
          <ac:chgData name="Bosma, Janneke" userId="fbc09de8-61da-4812-b08f-019a8e6904b9" providerId="ADAL" clId="{5A981E7F-9FB7-48E2-8C6B-167A918A6829}" dt="2024-04-16T16:09:56.163" v="9511"/>
          <ac:spMkLst>
            <pc:docMk/>
            <pc:sldMk cId="2388035959" sldId="420"/>
            <ac:spMk id="21" creationId="{B1D5326F-A223-74BF-480A-7D4690AAA390}"/>
          </ac:spMkLst>
        </pc:spChg>
        <pc:picChg chg="add mod">
          <ac:chgData name="Bosma, Janneke" userId="fbc09de8-61da-4812-b08f-019a8e6904b9" providerId="ADAL" clId="{5A981E7F-9FB7-48E2-8C6B-167A918A6829}" dt="2024-04-16T16:06:31.915" v="9132" actId="1076"/>
          <ac:picMkLst>
            <pc:docMk/>
            <pc:sldMk cId="2388035959" sldId="420"/>
            <ac:picMk id="4" creationId="{F0D0EF72-6522-4E42-8455-186AA48210A6}"/>
          </ac:picMkLst>
        </pc:picChg>
        <pc:picChg chg="del">
          <ac:chgData name="Bosma, Janneke" userId="fbc09de8-61da-4812-b08f-019a8e6904b9" providerId="ADAL" clId="{5A981E7F-9FB7-48E2-8C6B-167A918A6829}" dt="2024-04-16T16:06:08.953" v="9120" actId="478"/>
          <ac:picMkLst>
            <pc:docMk/>
            <pc:sldMk cId="2388035959" sldId="420"/>
            <ac:picMk id="5" creationId="{28B81E75-CC6E-F46C-3DCE-0C36972B94C1}"/>
          </ac:picMkLst>
        </pc:picChg>
        <pc:picChg chg="del">
          <ac:chgData name="Bosma, Janneke" userId="fbc09de8-61da-4812-b08f-019a8e6904b9" providerId="ADAL" clId="{5A981E7F-9FB7-48E2-8C6B-167A918A6829}" dt="2024-04-16T16:06:09.454" v="9121" actId="478"/>
          <ac:picMkLst>
            <pc:docMk/>
            <pc:sldMk cId="2388035959" sldId="420"/>
            <ac:picMk id="8" creationId="{C9D5CA88-5F7C-ACEA-3B85-08079F4D22D5}"/>
          </ac:picMkLst>
        </pc:picChg>
        <pc:cxnChg chg="del">
          <ac:chgData name="Bosma, Janneke" userId="fbc09de8-61da-4812-b08f-019a8e6904b9" providerId="ADAL" clId="{5A981E7F-9FB7-48E2-8C6B-167A918A6829}" dt="2024-04-16T16:06:11.373" v="9123" actId="478"/>
          <ac:cxnSpMkLst>
            <pc:docMk/>
            <pc:sldMk cId="2388035959" sldId="420"/>
            <ac:cxnSpMk id="12" creationId="{3A2EE3B1-DFF6-213B-F4EE-14469A3782B7}"/>
          </ac:cxnSpMkLst>
        </pc:cxnChg>
        <pc:cxnChg chg="add">
          <ac:chgData name="Bosma, Janneke" userId="fbc09de8-61da-4812-b08f-019a8e6904b9" providerId="ADAL" clId="{5A981E7F-9FB7-48E2-8C6B-167A918A6829}" dt="2024-04-16T16:07:15.623" v="9141" actId="11529"/>
          <ac:cxnSpMkLst>
            <pc:docMk/>
            <pc:sldMk cId="2388035959" sldId="420"/>
            <ac:cxnSpMk id="15" creationId="{403B2671-E762-FD8C-1DE8-B54E89BC8E92}"/>
          </ac:cxnSpMkLst>
        </pc:cxnChg>
        <pc:cxnChg chg="add mod">
          <ac:chgData name="Bosma, Janneke" userId="fbc09de8-61da-4812-b08f-019a8e6904b9" providerId="ADAL" clId="{5A981E7F-9FB7-48E2-8C6B-167A918A6829}" dt="2024-04-16T16:07:20.113" v="9143" actId="1076"/>
          <ac:cxnSpMkLst>
            <pc:docMk/>
            <pc:sldMk cId="2388035959" sldId="420"/>
            <ac:cxnSpMk id="16" creationId="{667F625A-C994-B04C-8922-703B609ED9C8}"/>
          </ac:cxnSpMkLst>
        </pc:cxnChg>
      </pc:sldChg>
      <pc:sldChg chg="addSp delSp modSp add mod">
        <pc:chgData name="Bosma, Janneke" userId="fbc09de8-61da-4812-b08f-019a8e6904b9" providerId="ADAL" clId="{5A981E7F-9FB7-48E2-8C6B-167A918A6829}" dt="2024-04-16T16:11:46.380" v="9560"/>
        <pc:sldMkLst>
          <pc:docMk/>
          <pc:sldMk cId="3939267891" sldId="421"/>
        </pc:sldMkLst>
        <pc:spChg chg="mod">
          <ac:chgData name="Bosma, Janneke" userId="fbc09de8-61da-4812-b08f-019a8e6904b9" providerId="ADAL" clId="{5A981E7F-9FB7-48E2-8C6B-167A918A6829}" dt="2024-04-16T16:11:30.514" v="9547" actId="20577"/>
          <ac:spMkLst>
            <pc:docMk/>
            <pc:sldMk cId="3939267891" sldId="421"/>
            <ac:spMk id="2" creationId="{66EECF1F-3A3A-48A9-AF99-34EA2FE500E0}"/>
          </ac:spMkLst>
        </pc:spChg>
        <pc:spChg chg="del">
          <ac:chgData name="Bosma, Janneke" userId="fbc09de8-61da-4812-b08f-019a8e6904b9" providerId="ADAL" clId="{5A981E7F-9FB7-48E2-8C6B-167A918A6829}" dt="2024-04-16T16:10:07.422" v="9517" actId="478"/>
          <ac:spMkLst>
            <pc:docMk/>
            <pc:sldMk cId="3939267891" sldId="421"/>
            <ac:spMk id="6" creationId="{5CA7B7F6-9D7A-79D5-A790-A36EC9C3ABC3}"/>
          </ac:spMkLst>
        </pc:spChg>
        <pc:spChg chg="del">
          <ac:chgData name="Bosma, Janneke" userId="fbc09de8-61da-4812-b08f-019a8e6904b9" providerId="ADAL" clId="{5A981E7F-9FB7-48E2-8C6B-167A918A6829}" dt="2024-04-16T16:10:08.081" v="9518" actId="478"/>
          <ac:spMkLst>
            <pc:docMk/>
            <pc:sldMk cId="3939267891" sldId="421"/>
            <ac:spMk id="10" creationId="{7C656FFF-65B9-C1B8-ED1F-A7D7992E6A56}"/>
          </ac:spMkLst>
        </pc:spChg>
        <pc:spChg chg="del">
          <ac:chgData name="Bosma, Janneke" userId="fbc09de8-61da-4812-b08f-019a8e6904b9" providerId="ADAL" clId="{5A981E7F-9FB7-48E2-8C6B-167A918A6829}" dt="2024-04-16T16:11:32.366" v="9548" actId="478"/>
          <ac:spMkLst>
            <pc:docMk/>
            <pc:sldMk cId="3939267891" sldId="421"/>
            <ac:spMk id="17" creationId="{90835E28-2F73-5405-7011-F118791CE24B}"/>
          </ac:spMkLst>
        </pc:spChg>
        <pc:spChg chg="del">
          <ac:chgData name="Bosma, Janneke" userId="fbc09de8-61da-4812-b08f-019a8e6904b9" providerId="ADAL" clId="{5A981E7F-9FB7-48E2-8C6B-167A918A6829}" dt="2024-04-16T16:10:03.539" v="9514" actId="478"/>
          <ac:spMkLst>
            <pc:docMk/>
            <pc:sldMk cId="3939267891" sldId="421"/>
            <ac:spMk id="18" creationId="{19F6B2BB-16C2-0EE6-FEA5-67E50A58FF9D}"/>
          </ac:spMkLst>
        </pc:spChg>
        <pc:spChg chg="del mod">
          <ac:chgData name="Bosma, Janneke" userId="fbc09de8-61da-4812-b08f-019a8e6904b9" providerId="ADAL" clId="{5A981E7F-9FB7-48E2-8C6B-167A918A6829}" dt="2024-04-16T16:11:34.057" v="9551" actId="478"/>
          <ac:spMkLst>
            <pc:docMk/>
            <pc:sldMk cId="3939267891" sldId="421"/>
            <ac:spMk id="19" creationId="{CFAAC475-4B62-0FF7-A0F2-B7EC9802B226}"/>
          </ac:spMkLst>
        </pc:spChg>
        <pc:spChg chg="del">
          <ac:chgData name="Bosma, Janneke" userId="fbc09de8-61da-4812-b08f-019a8e6904b9" providerId="ADAL" clId="{5A981E7F-9FB7-48E2-8C6B-167A918A6829}" dt="2024-04-16T16:11:35.763" v="9553" actId="478"/>
          <ac:spMkLst>
            <pc:docMk/>
            <pc:sldMk cId="3939267891" sldId="421"/>
            <ac:spMk id="20" creationId="{3A0C3F1E-2F5A-33F9-FFBB-09FFC74E6445}"/>
          </ac:spMkLst>
        </pc:spChg>
        <pc:picChg chg="del">
          <ac:chgData name="Bosma, Janneke" userId="fbc09de8-61da-4812-b08f-019a8e6904b9" providerId="ADAL" clId="{5A981E7F-9FB7-48E2-8C6B-167A918A6829}" dt="2024-04-16T16:10:01.125" v="9513" actId="478"/>
          <ac:picMkLst>
            <pc:docMk/>
            <pc:sldMk cId="3939267891" sldId="421"/>
            <ac:picMk id="4" creationId="{F0D0EF72-6522-4E42-8455-186AA48210A6}"/>
          </ac:picMkLst>
        </pc:picChg>
        <pc:picChg chg="add mod">
          <ac:chgData name="Bosma, Janneke" userId="fbc09de8-61da-4812-b08f-019a8e6904b9" providerId="ADAL" clId="{5A981E7F-9FB7-48E2-8C6B-167A918A6829}" dt="2024-04-16T16:11:43.643" v="9558" actId="1076"/>
          <ac:picMkLst>
            <pc:docMk/>
            <pc:sldMk cId="3939267891" sldId="421"/>
            <ac:picMk id="7" creationId="{9EF494EF-9213-A0BD-BF31-E67B4E88BD0F}"/>
          </ac:picMkLst>
        </pc:picChg>
        <pc:picChg chg="add del mod">
          <ac:chgData name="Bosma, Janneke" userId="fbc09de8-61da-4812-b08f-019a8e6904b9" providerId="ADAL" clId="{5A981E7F-9FB7-48E2-8C6B-167A918A6829}" dt="2024-04-16T16:11:46.380" v="9560"/>
          <ac:picMkLst>
            <pc:docMk/>
            <pc:sldMk cId="3939267891" sldId="421"/>
            <ac:picMk id="8" creationId="{51E7E45C-A12B-1F47-C388-3DAF04B97AE6}"/>
          </ac:picMkLst>
        </pc:picChg>
        <pc:cxnChg chg="del">
          <ac:chgData name="Bosma, Janneke" userId="fbc09de8-61da-4812-b08f-019a8e6904b9" providerId="ADAL" clId="{5A981E7F-9FB7-48E2-8C6B-167A918A6829}" dt="2024-04-16T16:11:32.800" v="9549" actId="478"/>
          <ac:cxnSpMkLst>
            <pc:docMk/>
            <pc:sldMk cId="3939267891" sldId="421"/>
            <ac:cxnSpMk id="15" creationId="{403B2671-E762-FD8C-1DE8-B54E89BC8E92}"/>
          </ac:cxnSpMkLst>
        </pc:cxnChg>
        <pc:cxnChg chg="add del">
          <ac:chgData name="Bosma, Janneke" userId="fbc09de8-61da-4812-b08f-019a8e6904b9" providerId="ADAL" clId="{5A981E7F-9FB7-48E2-8C6B-167A918A6829}" dt="2024-04-16T16:11:34.679" v="9552" actId="478"/>
          <ac:cxnSpMkLst>
            <pc:docMk/>
            <pc:sldMk cId="3939267891" sldId="421"/>
            <ac:cxnSpMk id="16" creationId="{667F625A-C994-B04C-8922-703B609ED9C8}"/>
          </ac:cxnSpMkLst>
        </pc:cxnChg>
      </pc:sldChg>
      <pc:sldChg chg="addSp delSp modSp add mod">
        <pc:chgData name="Bosma, Janneke" userId="fbc09de8-61da-4812-b08f-019a8e6904b9" providerId="ADAL" clId="{5A981E7F-9FB7-48E2-8C6B-167A918A6829}" dt="2024-04-16T16:14:46.314" v="9849" actId="1076"/>
        <pc:sldMkLst>
          <pc:docMk/>
          <pc:sldMk cId="1789795038" sldId="422"/>
        </pc:sldMkLst>
        <pc:spChg chg="add mod">
          <ac:chgData name="Bosma, Janneke" userId="fbc09de8-61da-4812-b08f-019a8e6904b9" providerId="ADAL" clId="{5A981E7F-9FB7-48E2-8C6B-167A918A6829}" dt="2024-04-16T16:14:01.361" v="9627" actId="1076"/>
          <ac:spMkLst>
            <pc:docMk/>
            <pc:sldMk cId="1789795038" sldId="422"/>
            <ac:spMk id="9" creationId="{6FCC7BEE-A0C3-03EE-CF60-2EEDF06981E6}"/>
          </ac:spMkLst>
        </pc:spChg>
        <pc:spChg chg="add mod">
          <ac:chgData name="Bosma, Janneke" userId="fbc09de8-61da-4812-b08f-019a8e6904b9" providerId="ADAL" clId="{5A981E7F-9FB7-48E2-8C6B-167A918A6829}" dt="2024-04-16T16:13:31.528" v="9619" actId="20577"/>
          <ac:spMkLst>
            <pc:docMk/>
            <pc:sldMk cId="1789795038" sldId="422"/>
            <ac:spMk id="10" creationId="{A32E7D43-09F8-59AB-808A-616E0A44945A}"/>
          </ac:spMkLst>
        </pc:spChg>
        <pc:spChg chg="add del mod">
          <ac:chgData name="Bosma, Janneke" userId="fbc09de8-61da-4812-b08f-019a8e6904b9" providerId="ADAL" clId="{5A981E7F-9FB7-48E2-8C6B-167A918A6829}" dt="2024-04-16T16:13:40.039" v="9623" actId="478"/>
          <ac:spMkLst>
            <pc:docMk/>
            <pc:sldMk cId="1789795038" sldId="422"/>
            <ac:spMk id="11" creationId="{78D99AD8-F427-4654-7FCF-51A2EEAB5748}"/>
          </ac:spMkLst>
        </pc:spChg>
        <pc:spChg chg="add mod">
          <ac:chgData name="Bosma, Janneke" userId="fbc09de8-61da-4812-b08f-019a8e6904b9" providerId="ADAL" clId="{5A981E7F-9FB7-48E2-8C6B-167A918A6829}" dt="2024-04-16T16:14:46.314" v="9849" actId="1076"/>
          <ac:spMkLst>
            <pc:docMk/>
            <pc:sldMk cId="1789795038" sldId="422"/>
            <ac:spMk id="12" creationId="{2D9E843E-7061-D8B3-730B-EEF74193C2FA}"/>
          </ac:spMkLst>
        </pc:spChg>
        <pc:picChg chg="add mod">
          <ac:chgData name="Bosma, Janneke" userId="fbc09de8-61da-4812-b08f-019a8e6904b9" providerId="ADAL" clId="{5A981E7F-9FB7-48E2-8C6B-167A918A6829}" dt="2024-04-16T16:13:54.292" v="9625" actId="1076"/>
          <ac:picMkLst>
            <pc:docMk/>
            <pc:sldMk cId="1789795038" sldId="422"/>
            <ac:picMk id="5" creationId="{24642BB2-A5DE-448F-621A-26CAB58B8E4D}"/>
          </ac:picMkLst>
        </pc:picChg>
        <pc:picChg chg="del">
          <ac:chgData name="Bosma, Janneke" userId="fbc09de8-61da-4812-b08f-019a8e6904b9" providerId="ADAL" clId="{5A981E7F-9FB7-48E2-8C6B-167A918A6829}" dt="2024-04-16T16:12:09.164" v="9562" actId="478"/>
          <ac:picMkLst>
            <pc:docMk/>
            <pc:sldMk cId="1789795038" sldId="422"/>
            <ac:picMk id="7" creationId="{9EF494EF-9213-A0BD-BF31-E67B4E88BD0F}"/>
          </ac:picMkLst>
        </pc:picChg>
        <pc:picChg chg="add mod">
          <ac:chgData name="Bosma, Janneke" userId="fbc09de8-61da-4812-b08f-019a8e6904b9" providerId="ADAL" clId="{5A981E7F-9FB7-48E2-8C6B-167A918A6829}" dt="2024-04-16T16:13:06.381" v="9573" actId="14100"/>
          <ac:picMkLst>
            <pc:docMk/>
            <pc:sldMk cId="1789795038" sldId="422"/>
            <ac:picMk id="8" creationId="{F740C7ED-F733-1B61-DF9E-EE8830787003}"/>
          </ac:picMkLst>
        </pc:picChg>
      </pc:sldChg>
      <pc:sldChg chg="delSp modSp add mod ord">
        <pc:chgData name="Bosma, Janneke" userId="fbc09de8-61da-4812-b08f-019a8e6904b9" providerId="ADAL" clId="{5A981E7F-9FB7-48E2-8C6B-167A918A6829}" dt="2024-04-16T16:17:52.681" v="10398" actId="1076"/>
        <pc:sldMkLst>
          <pc:docMk/>
          <pc:sldMk cId="114589316" sldId="423"/>
        </pc:sldMkLst>
        <pc:spChg chg="mod">
          <ac:chgData name="Bosma, Janneke" userId="fbc09de8-61da-4812-b08f-019a8e6904b9" providerId="ADAL" clId="{5A981E7F-9FB7-48E2-8C6B-167A918A6829}" dt="2024-04-16T16:17:52.681" v="10398" actId="1076"/>
          <ac:spMkLst>
            <pc:docMk/>
            <pc:sldMk cId="114589316" sldId="423"/>
            <ac:spMk id="7" creationId="{6130060B-082D-F851-D95A-F23B46F433C6}"/>
          </ac:spMkLst>
        </pc:spChg>
        <pc:picChg chg="del">
          <ac:chgData name="Bosma, Janneke" userId="fbc09de8-61da-4812-b08f-019a8e6904b9" providerId="ADAL" clId="{5A981E7F-9FB7-48E2-8C6B-167A918A6829}" dt="2024-04-16T16:15:41.302" v="9853" actId="478"/>
          <ac:picMkLst>
            <pc:docMk/>
            <pc:sldMk cId="114589316" sldId="423"/>
            <ac:picMk id="5" creationId="{CAD11CA8-85F1-C671-E7D8-0F6A9333926C}"/>
          </ac:picMkLst>
        </pc:picChg>
      </pc:sldChg>
      <pc:sldChg chg="addSp modSp new mod">
        <pc:chgData name="Bosma, Janneke" userId="fbc09de8-61da-4812-b08f-019a8e6904b9" providerId="ADAL" clId="{5A981E7F-9FB7-48E2-8C6B-167A918A6829}" dt="2024-04-30T08:36:50.863" v="11450"/>
        <pc:sldMkLst>
          <pc:docMk/>
          <pc:sldMk cId="2572287687" sldId="424"/>
        </pc:sldMkLst>
        <pc:spChg chg="mod">
          <ac:chgData name="Bosma, Janneke" userId="fbc09de8-61da-4812-b08f-019a8e6904b9" providerId="ADAL" clId="{5A981E7F-9FB7-48E2-8C6B-167A918A6829}" dt="2024-04-30T08:30:24.645" v="10575" actId="20577"/>
          <ac:spMkLst>
            <pc:docMk/>
            <pc:sldMk cId="2572287687" sldId="424"/>
            <ac:spMk id="2" creationId="{C15B51F4-E25B-CF13-D736-34DAB1251F1B}"/>
          </ac:spMkLst>
        </pc:spChg>
        <pc:spChg chg="mod">
          <ac:chgData name="Bosma, Janneke" userId="fbc09de8-61da-4812-b08f-019a8e6904b9" providerId="ADAL" clId="{5A981E7F-9FB7-48E2-8C6B-167A918A6829}" dt="2024-04-30T08:36:02.143" v="11445" actId="20577"/>
          <ac:spMkLst>
            <pc:docMk/>
            <pc:sldMk cId="2572287687" sldId="424"/>
            <ac:spMk id="3" creationId="{85D56D13-19BA-8733-E163-76945536D05D}"/>
          </ac:spMkLst>
        </pc:spChg>
        <pc:spChg chg="add mod">
          <ac:chgData name="Bosma, Janneke" userId="fbc09de8-61da-4812-b08f-019a8e6904b9" providerId="ADAL" clId="{5A981E7F-9FB7-48E2-8C6B-167A918A6829}" dt="2024-04-30T08:36:50.863" v="11450"/>
          <ac:spMkLst>
            <pc:docMk/>
            <pc:sldMk cId="2572287687" sldId="424"/>
            <ac:spMk id="5" creationId="{ABEB3DD9-50DF-E139-1E10-2DDD948BDEE9}"/>
          </ac:spMkLst>
        </pc:spChg>
      </pc:sldChg>
      <pc:sldChg chg="addSp modSp new mod">
        <pc:chgData name="Bosma, Janneke" userId="fbc09de8-61da-4812-b08f-019a8e6904b9" providerId="ADAL" clId="{5A981E7F-9FB7-48E2-8C6B-167A918A6829}" dt="2024-04-30T08:39:09.861" v="12021" actId="20577"/>
        <pc:sldMkLst>
          <pc:docMk/>
          <pc:sldMk cId="2505307723" sldId="425"/>
        </pc:sldMkLst>
        <pc:spChg chg="mod">
          <ac:chgData name="Bosma, Janneke" userId="fbc09de8-61da-4812-b08f-019a8e6904b9" providerId="ADAL" clId="{5A981E7F-9FB7-48E2-8C6B-167A918A6829}" dt="2024-04-30T08:37:04.821" v="11497" actId="20577"/>
          <ac:spMkLst>
            <pc:docMk/>
            <pc:sldMk cId="2505307723" sldId="425"/>
            <ac:spMk id="2" creationId="{BB8D5681-C545-CEED-C71A-0ED0B95232D2}"/>
          </ac:spMkLst>
        </pc:spChg>
        <pc:spChg chg="mod">
          <ac:chgData name="Bosma, Janneke" userId="fbc09de8-61da-4812-b08f-019a8e6904b9" providerId="ADAL" clId="{5A981E7F-9FB7-48E2-8C6B-167A918A6829}" dt="2024-04-30T08:38:59.857" v="12016" actId="20577"/>
          <ac:spMkLst>
            <pc:docMk/>
            <pc:sldMk cId="2505307723" sldId="425"/>
            <ac:spMk id="3" creationId="{48031A04-7CFD-6462-836A-49F9BC1DE150}"/>
          </ac:spMkLst>
        </pc:spChg>
        <pc:spChg chg="add mod">
          <ac:chgData name="Bosma, Janneke" userId="fbc09de8-61da-4812-b08f-019a8e6904b9" providerId="ADAL" clId="{5A981E7F-9FB7-48E2-8C6B-167A918A6829}" dt="2024-04-30T08:39:09.861" v="12021" actId="20577"/>
          <ac:spMkLst>
            <pc:docMk/>
            <pc:sldMk cId="2505307723" sldId="425"/>
            <ac:spMk id="5" creationId="{57A15044-9EAA-BB8D-90F6-5F29976D226D}"/>
          </ac:spMkLst>
        </pc:spChg>
      </pc:sldChg>
      <pc:sldChg chg="addSp modSp new mod">
        <pc:chgData name="Bosma, Janneke" userId="fbc09de8-61da-4812-b08f-019a8e6904b9" providerId="ADAL" clId="{5A981E7F-9FB7-48E2-8C6B-167A918A6829}" dt="2024-04-30T08:40:59.948" v="12407" actId="20577"/>
        <pc:sldMkLst>
          <pc:docMk/>
          <pc:sldMk cId="2484447102" sldId="426"/>
        </pc:sldMkLst>
        <pc:spChg chg="mod">
          <ac:chgData name="Bosma, Janneke" userId="fbc09de8-61da-4812-b08f-019a8e6904b9" providerId="ADAL" clId="{5A981E7F-9FB7-48E2-8C6B-167A918A6829}" dt="2024-04-30T08:39:24.324" v="12041" actId="20577"/>
          <ac:spMkLst>
            <pc:docMk/>
            <pc:sldMk cId="2484447102" sldId="426"/>
            <ac:spMk id="2" creationId="{BC5E32CE-4B32-D1B7-BF76-C56B374D4AFA}"/>
          </ac:spMkLst>
        </pc:spChg>
        <pc:spChg chg="mod">
          <ac:chgData name="Bosma, Janneke" userId="fbc09de8-61da-4812-b08f-019a8e6904b9" providerId="ADAL" clId="{5A981E7F-9FB7-48E2-8C6B-167A918A6829}" dt="2024-04-30T08:40:59.948" v="12407" actId="20577"/>
          <ac:spMkLst>
            <pc:docMk/>
            <pc:sldMk cId="2484447102" sldId="426"/>
            <ac:spMk id="3" creationId="{B3760A30-47C6-BEE2-F689-6C6287D11AE1}"/>
          </ac:spMkLst>
        </pc:spChg>
        <pc:spChg chg="add mod">
          <ac:chgData name="Bosma, Janneke" userId="fbc09de8-61da-4812-b08f-019a8e6904b9" providerId="ADAL" clId="{5A981E7F-9FB7-48E2-8C6B-167A918A6829}" dt="2024-04-30T08:39:18.200" v="12023"/>
          <ac:spMkLst>
            <pc:docMk/>
            <pc:sldMk cId="2484447102" sldId="426"/>
            <ac:spMk id="5" creationId="{B3A905DA-4A45-7F93-0DCA-73D95AE06924}"/>
          </ac:spMkLst>
        </pc:spChg>
        <pc:picChg chg="add mod">
          <ac:chgData name="Bosma, Janneke" userId="fbc09de8-61da-4812-b08f-019a8e6904b9" providerId="ADAL" clId="{5A981E7F-9FB7-48E2-8C6B-167A918A6829}" dt="2024-04-30T08:39:56.484" v="12073" actId="1076"/>
          <ac:picMkLst>
            <pc:docMk/>
            <pc:sldMk cId="2484447102" sldId="426"/>
            <ac:picMk id="7" creationId="{3E3952D8-F484-4958-9793-2B4DE9C43CD5}"/>
          </ac:picMkLst>
        </pc:picChg>
      </pc:sldChg>
      <pc:sldChg chg="addSp delSp modSp new mod">
        <pc:chgData name="Bosma, Janneke" userId="fbc09de8-61da-4812-b08f-019a8e6904b9" providerId="ADAL" clId="{5A981E7F-9FB7-48E2-8C6B-167A918A6829}" dt="2024-04-30T08:47:41.186" v="13248" actId="20577"/>
        <pc:sldMkLst>
          <pc:docMk/>
          <pc:sldMk cId="805092564" sldId="427"/>
        </pc:sldMkLst>
        <pc:spChg chg="mod">
          <ac:chgData name="Bosma, Janneke" userId="fbc09de8-61da-4812-b08f-019a8e6904b9" providerId="ADAL" clId="{5A981E7F-9FB7-48E2-8C6B-167A918A6829}" dt="2024-04-30T08:42:38.617" v="12433" actId="20577"/>
          <ac:spMkLst>
            <pc:docMk/>
            <pc:sldMk cId="805092564" sldId="427"/>
            <ac:spMk id="2" creationId="{9F27645E-6B77-4495-83BE-F020D9237014}"/>
          </ac:spMkLst>
        </pc:spChg>
        <pc:spChg chg="mod">
          <ac:chgData name="Bosma, Janneke" userId="fbc09de8-61da-4812-b08f-019a8e6904b9" providerId="ADAL" clId="{5A981E7F-9FB7-48E2-8C6B-167A918A6829}" dt="2024-04-30T08:47:41.186" v="13248" actId="20577"/>
          <ac:spMkLst>
            <pc:docMk/>
            <pc:sldMk cId="805092564" sldId="427"/>
            <ac:spMk id="3" creationId="{8EA9C816-D3FC-5907-ED24-7D59FC2C3AE3}"/>
          </ac:spMkLst>
        </pc:spChg>
        <pc:spChg chg="del">
          <ac:chgData name="Bosma, Janneke" userId="fbc09de8-61da-4812-b08f-019a8e6904b9" providerId="ADAL" clId="{5A981E7F-9FB7-48E2-8C6B-167A918A6829}" dt="2024-04-30T08:45:03.687" v="12901" actId="478"/>
          <ac:spMkLst>
            <pc:docMk/>
            <pc:sldMk cId="805092564" sldId="427"/>
            <ac:spMk id="4" creationId="{7E8F966A-34E6-657B-7E30-AE1DFE04D250}"/>
          </ac:spMkLst>
        </pc:spChg>
        <pc:spChg chg="add mod">
          <ac:chgData name="Bosma, Janneke" userId="fbc09de8-61da-4812-b08f-019a8e6904b9" providerId="ADAL" clId="{5A981E7F-9FB7-48E2-8C6B-167A918A6829}" dt="2024-04-30T08:46:13.665" v="12988" actId="1076"/>
          <ac:spMkLst>
            <pc:docMk/>
            <pc:sldMk cId="805092564" sldId="427"/>
            <ac:spMk id="16" creationId="{143D4C67-2049-CC3C-0FEA-B89F75408752}"/>
          </ac:spMkLst>
        </pc:spChg>
        <pc:spChg chg="add mod">
          <ac:chgData name="Bosma, Janneke" userId="fbc09de8-61da-4812-b08f-019a8e6904b9" providerId="ADAL" clId="{5A981E7F-9FB7-48E2-8C6B-167A918A6829}" dt="2024-04-30T08:46:31.771" v="13038" actId="20577"/>
          <ac:spMkLst>
            <pc:docMk/>
            <pc:sldMk cId="805092564" sldId="427"/>
            <ac:spMk id="17" creationId="{BCAC4939-A9AF-B875-9082-96BD50927A06}"/>
          </ac:spMkLst>
        </pc:spChg>
        <pc:spChg chg="add mod">
          <ac:chgData name="Bosma, Janneke" userId="fbc09de8-61da-4812-b08f-019a8e6904b9" providerId="ADAL" clId="{5A981E7F-9FB7-48E2-8C6B-167A918A6829}" dt="2024-04-30T08:46:42.004" v="13047" actId="20577"/>
          <ac:spMkLst>
            <pc:docMk/>
            <pc:sldMk cId="805092564" sldId="427"/>
            <ac:spMk id="18" creationId="{FAE9FBFF-30C8-25C0-94BD-1BB9A9B16431}"/>
          </ac:spMkLst>
        </pc:spChg>
        <pc:spChg chg="add mod">
          <ac:chgData name="Bosma, Janneke" userId="fbc09de8-61da-4812-b08f-019a8e6904b9" providerId="ADAL" clId="{5A981E7F-9FB7-48E2-8C6B-167A918A6829}" dt="2024-04-30T08:46:58.919" v="13118" actId="20577"/>
          <ac:spMkLst>
            <pc:docMk/>
            <pc:sldMk cId="805092564" sldId="427"/>
            <ac:spMk id="19" creationId="{FFFA4A67-E670-CD87-74A4-C9A907CC0B23}"/>
          </ac:spMkLst>
        </pc:spChg>
        <pc:spChg chg="add mod">
          <ac:chgData name="Bosma, Janneke" userId="fbc09de8-61da-4812-b08f-019a8e6904b9" providerId="ADAL" clId="{5A981E7F-9FB7-48E2-8C6B-167A918A6829}" dt="2024-04-30T08:47:10.109" v="13144" actId="1076"/>
          <ac:spMkLst>
            <pc:docMk/>
            <pc:sldMk cId="805092564" sldId="427"/>
            <ac:spMk id="20" creationId="{FE6A46C4-2036-80FC-9AAA-D091789BEFB8}"/>
          </ac:spMkLst>
        </pc:spChg>
        <pc:picChg chg="add mod">
          <ac:chgData name="Bosma, Janneke" userId="fbc09de8-61da-4812-b08f-019a8e6904b9" providerId="ADAL" clId="{5A981E7F-9FB7-48E2-8C6B-167A918A6829}" dt="2024-04-30T08:46:09.539" v="12987" actId="1076"/>
          <ac:picMkLst>
            <pc:docMk/>
            <pc:sldMk cId="805092564" sldId="427"/>
            <ac:picMk id="5" creationId="{3521F349-6141-AB2B-56F4-CF1FE4B81134}"/>
          </ac:picMkLst>
        </pc:picChg>
        <pc:cxnChg chg="add mod">
          <ac:chgData name="Bosma, Janneke" userId="fbc09de8-61da-4812-b08f-019a8e6904b9" providerId="ADAL" clId="{5A981E7F-9FB7-48E2-8C6B-167A918A6829}" dt="2024-04-30T08:45:27.017" v="12960" actId="14100"/>
          <ac:cxnSpMkLst>
            <pc:docMk/>
            <pc:sldMk cId="805092564" sldId="427"/>
            <ac:cxnSpMk id="6" creationId="{185384D8-4E21-A32F-9ADC-4A4E70AC9E3E}"/>
          </ac:cxnSpMkLst>
        </pc:cxnChg>
        <pc:cxnChg chg="add mod">
          <ac:chgData name="Bosma, Janneke" userId="fbc09de8-61da-4812-b08f-019a8e6904b9" providerId="ADAL" clId="{5A981E7F-9FB7-48E2-8C6B-167A918A6829}" dt="2024-04-30T08:45:33.117" v="12963" actId="14100"/>
          <ac:cxnSpMkLst>
            <pc:docMk/>
            <pc:sldMk cId="805092564" sldId="427"/>
            <ac:cxnSpMk id="8" creationId="{ABD41ED7-28D6-1A56-D62B-830DA4091CED}"/>
          </ac:cxnSpMkLst>
        </pc:cxnChg>
        <pc:cxnChg chg="add mod">
          <ac:chgData name="Bosma, Janneke" userId="fbc09de8-61da-4812-b08f-019a8e6904b9" providerId="ADAL" clId="{5A981E7F-9FB7-48E2-8C6B-167A918A6829}" dt="2024-04-30T08:45:39.279" v="12966" actId="14100"/>
          <ac:cxnSpMkLst>
            <pc:docMk/>
            <pc:sldMk cId="805092564" sldId="427"/>
            <ac:cxnSpMk id="10" creationId="{D9D63F1D-585A-1ED5-C63F-0BFE4A6F2950}"/>
          </ac:cxnSpMkLst>
        </pc:cxnChg>
        <pc:cxnChg chg="add mod">
          <ac:chgData name="Bosma, Janneke" userId="fbc09de8-61da-4812-b08f-019a8e6904b9" providerId="ADAL" clId="{5A981E7F-9FB7-48E2-8C6B-167A918A6829}" dt="2024-04-30T08:45:44.241" v="12969" actId="14100"/>
          <ac:cxnSpMkLst>
            <pc:docMk/>
            <pc:sldMk cId="805092564" sldId="427"/>
            <ac:cxnSpMk id="12" creationId="{D48E7835-81D0-12DE-C208-8907E6200BBF}"/>
          </ac:cxnSpMkLst>
        </pc:cxnChg>
        <pc:cxnChg chg="add mod">
          <ac:chgData name="Bosma, Janneke" userId="fbc09de8-61da-4812-b08f-019a8e6904b9" providerId="ADAL" clId="{5A981E7F-9FB7-48E2-8C6B-167A918A6829}" dt="2024-04-30T08:45:50.384" v="12972" actId="14100"/>
          <ac:cxnSpMkLst>
            <pc:docMk/>
            <pc:sldMk cId="805092564" sldId="427"/>
            <ac:cxnSpMk id="14" creationId="{83B0A38A-485D-9072-2F6A-EFD2CAD94D3A}"/>
          </ac:cxnSpMkLst>
        </pc:cxnChg>
      </pc:sldChg>
      <pc:sldChg chg="new del">
        <pc:chgData name="Bosma, Janneke" userId="fbc09de8-61da-4812-b08f-019a8e6904b9" providerId="ADAL" clId="{5A981E7F-9FB7-48E2-8C6B-167A918A6829}" dt="2024-05-03T07:33:14.429" v="13287" actId="47"/>
        <pc:sldMkLst>
          <pc:docMk/>
          <pc:sldMk cId="1965475043" sldId="428"/>
        </pc:sldMkLst>
      </pc:sldChg>
      <pc:sldChg chg="modSp add mod">
        <pc:chgData name="Bosma, Janneke" userId="fbc09de8-61da-4812-b08f-019a8e6904b9" providerId="ADAL" clId="{5A981E7F-9FB7-48E2-8C6B-167A918A6829}" dt="2024-05-03T07:36:07.188" v="13298" actId="20577"/>
        <pc:sldMkLst>
          <pc:docMk/>
          <pc:sldMk cId="616742376" sldId="429"/>
        </pc:sldMkLst>
        <pc:spChg chg="mod">
          <ac:chgData name="Bosma, Janneke" userId="fbc09de8-61da-4812-b08f-019a8e6904b9" providerId="ADAL" clId="{5A981E7F-9FB7-48E2-8C6B-167A918A6829}" dt="2024-05-03T07:36:07.188" v="13298" actId="20577"/>
          <ac:spMkLst>
            <pc:docMk/>
            <pc:sldMk cId="616742376" sldId="429"/>
            <ac:spMk id="3" creationId="{22C12031-7A65-874B-BCBA-56B63690C32F}"/>
          </ac:spMkLst>
        </pc:spChg>
      </pc:sldChg>
      <pc:sldChg chg="add">
        <pc:chgData name="Bosma, Janneke" userId="fbc09de8-61da-4812-b08f-019a8e6904b9" providerId="ADAL" clId="{5A981E7F-9FB7-48E2-8C6B-167A918A6829}" dt="2024-05-03T07:33:22.891" v="13288"/>
        <pc:sldMkLst>
          <pc:docMk/>
          <pc:sldMk cId="3301879859" sldId="430"/>
        </pc:sldMkLst>
      </pc:sldChg>
      <pc:sldChg chg="add">
        <pc:chgData name="Bosma, Janneke" userId="fbc09de8-61da-4812-b08f-019a8e6904b9" providerId="ADAL" clId="{5A981E7F-9FB7-48E2-8C6B-167A918A6829}" dt="2024-05-03T07:33:37.063" v="13289"/>
        <pc:sldMkLst>
          <pc:docMk/>
          <pc:sldMk cId="1694710441" sldId="431"/>
        </pc:sldMkLst>
      </pc:sldChg>
      <pc:sldChg chg="add">
        <pc:chgData name="Bosma, Janneke" userId="fbc09de8-61da-4812-b08f-019a8e6904b9" providerId="ADAL" clId="{5A981E7F-9FB7-48E2-8C6B-167A918A6829}" dt="2024-05-03T07:33:37.063" v="13289"/>
        <pc:sldMkLst>
          <pc:docMk/>
          <pc:sldMk cId="328499983" sldId="432"/>
        </pc:sldMkLst>
      </pc:sldChg>
      <pc:sldChg chg="add">
        <pc:chgData name="Bosma, Janneke" userId="fbc09de8-61da-4812-b08f-019a8e6904b9" providerId="ADAL" clId="{5A981E7F-9FB7-48E2-8C6B-167A918A6829}" dt="2024-05-03T07:33:37.063" v="13289"/>
        <pc:sldMkLst>
          <pc:docMk/>
          <pc:sldMk cId="3505388845" sldId="433"/>
        </pc:sldMkLst>
      </pc:sldChg>
      <pc:sldChg chg="add">
        <pc:chgData name="Bosma, Janneke" userId="fbc09de8-61da-4812-b08f-019a8e6904b9" providerId="ADAL" clId="{5A981E7F-9FB7-48E2-8C6B-167A918A6829}" dt="2024-05-03T07:33:37.063" v="13289"/>
        <pc:sldMkLst>
          <pc:docMk/>
          <pc:sldMk cId="4070960954" sldId="434"/>
        </pc:sldMkLst>
      </pc:sldChg>
      <pc:sldChg chg="add">
        <pc:chgData name="Bosma, Janneke" userId="fbc09de8-61da-4812-b08f-019a8e6904b9" providerId="ADAL" clId="{5A981E7F-9FB7-48E2-8C6B-167A918A6829}" dt="2024-05-03T07:33:43.176" v="13290"/>
        <pc:sldMkLst>
          <pc:docMk/>
          <pc:sldMk cId="2068634479" sldId="43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3-5-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2255399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4108064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398828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3</a:t>
            </a:fld>
            <a:endParaRPr lang="nl-NL"/>
          </a:p>
        </p:txBody>
      </p:sp>
    </p:spTree>
    <p:extLst>
      <p:ext uri="{BB962C8B-B14F-4D97-AF65-F5344CB8AC3E}">
        <p14:creationId xmlns:p14="http://schemas.microsoft.com/office/powerpoint/2010/main" val="73466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4</a:t>
            </a:fld>
            <a:endParaRPr lang="nl-NL"/>
          </a:p>
        </p:txBody>
      </p:sp>
    </p:spTree>
    <p:extLst>
      <p:ext uri="{BB962C8B-B14F-4D97-AF65-F5344CB8AC3E}">
        <p14:creationId xmlns:p14="http://schemas.microsoft.com/office/powerpoint/2010/main" val="263837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5</a:t>
            </a:fld>
            <a:endParaRPr lang="nl-NL"/>
          </a:p>
        </p:txBody>
      </p:sp>
    </p:spTree>
    <p:extLst>
      <p:ext uri="{BB962C8B-B14F-4D97-AF65-F5344CB8AC3E}">
        <p14:creationId xmlns:p14="http://schemas.microsoft.com/office/powerpoint/2010/main" val="3637046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6</a:t>
            </a:fld>
            <a:endParaRPr lang="nl-NL"/>
          </a:p>
        </p:txBody>
      </p:sp>
    </p:spTree>
    <p:extLst>
      <p:ext uri="{BB962C8B-B14F-4D97-AF65-F5344CB8AC3E}">
        <p14:creationId xmlns:p14="http://schemas.microsoft.com/office/powerpoint/2010/main" val="36331245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7</a:t>
            </a:fld>
            <a:endParaRPr lang="nl-NL"/>
          </a:p>
        </p:txBody>
      </p:sp>
    </p:spTree>
    <p:extLst>
      <p:ext uri="{BB962C8B-B14F-4D97-AF65-F5344CB8AC3E}">
        <p14:creationId xmlns:p14="http://schemas.microsoft.com/office/powerpoint/2010/main" val="447553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8</a:t>
            </a:fld>
            <a:endParaRPr lang="nl-NL"/>
          </a:p>
        </p:txBody>
      </p:sp>
    </p:spTree>
    <p:extLst>
      <p:ext uri="{BB962C8B-B14F-4D97-AF65-F5344CB8AC3E}">
        <p14:creationId xmlns:p14="http://schemas.microsoft.com/office/powerpoint/2010/main" val="8975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9</a:t>
            </a:fld>
            <a:endParaRPr lang="nl-NL"/>
          </a:p>
        </p:txBody>
      </p:sp>
    </p:spTree>
    <p:extLst>
      <p:ext uri="{BB962C8B-B14F-4D97-AF65-F5344CB8AC3E}">
        <p14:creationId xmlns:p14="http://schemas.microsoft.com/office/powerpoint/2010/main" val="3771867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a:t>
            </a:fld>
            <a:endParaRPr lang="nl-NL"/>
          </a:p>
        </p:txBody>
      </p:sp>
    </p:spTree>
    <p:extLst>
      <p:ext uri="{BB962C8B-B14F-4D97-AF65-F5344CB8AC3E}">
        <p14:creationId xmlns:p14="http://schemas.microsoft.com/office/powerpoint/2010/main" val="1055338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0</a:t>
            </a:fld>
            <a:endParaRPr lang="nl-NL"/>
          </a:p>
        </p:txBody>
      </p:sp>
    </p:spTree>
    <p:extLst>
      <p:ext uri="{BB962C8B-B14F-4D97-AF65-F5344CB8AC3E}">
        <p14:creationId xmlns:p14="http://schemas.microsoft.com/office/powerpoint/2010/main" val="21314059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1</a:t>
            </a:fld>
            <a:endParaRPr lang="nl-NL"/>
          </a:p>
        </p:txBody>
      </p:sp>
    </p:spTree>
    <p:extLst>
      <p:ext uri="{BB962C8B-B14F-4D97-AF65-F5344CB8AC3E}">
        <p14:creationId xmlns:p14="http://schemas.microsoft.com/office/powerpoint/2010/main" val="900618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4274651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2611531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5</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2431450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7</a:t>
            </a:fld>
            <a:endParaRPr lang="nl-NL"/>
          </a:p>
        </p:txBody>
      </p:sp>
    </p:spTree>
    <p:extLst>
      <p:ext uri="{BB962C8B-B14F-4D97-AF65-F5344CB8AC3E}">
        <p14:creationId xmlns:p14="http://schemas.microsoft.com/office/powerpoint/2010/main" val="116523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3635869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3119262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hyperlink" Target="https://www.w3.org/TR/shacl/" TargetMode="External"/><Relationship Id="rId2" Type="http://schemas.openxmlformats.org/officeDocument/2006/relationships/hyperlink" Target="https://shacl.org/playground/" TargetMode="External"/><Relationship Id="rId1" Type="http://schemas.openxmlformats.org/officeDocument/2006/relationships/slideLayout" Target="../slideLayouts/slideLayout6.xml"/><Relationship Id="rId5" Type="http://schemas.openxmlformats.org/officeDocument/2006/relationships/hyperlink" Target="https://www.smals.be/nl/content/shacl-logische-en-vormcontroles-met-kennisgraaftechnologieen" TargetMode="External"/><Relationship Id="rId4" Type="http://schemas.openxmlformats.org/officeDocument/2006/relationships/hyperlink" Target="https://shacl.dev/"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youtu.be/9o4gDQvVkLU" TargetMode="External"/><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hyperlink" Target="https://github.com/JannekeBosma/DPP" TargetMode="External"/><Relationship Id="rId4" Type="http://schemas.openxmlformats.org/officeDocument/2006/relationships/hyperlink" Target="https://code.visualstudio.com/docs/python/python-tutori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paspoorten en digitale product paspoorten in de bouw</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9448740"/>
          </a:xfrm>
          <a:prstGeom prst="rect">
            <a:avLst/>
          </a:prstGeom>
          <a:noFill/>
        </p:spPr>
        <p:txBody>
          <a:bodyPr wrap="square">
            <a:spAutoFit/>
          </a:bodyPr>
          <a:lstStyle/>
          <a:p>
            <a:pPr marL="342900" indent="-342900" algn="l">
              <a:buAutoNum type="arabicPeriod"/>
            </a:pPr>
            <a:r>
              <a:rPr lang="nl-NL" sz="1600" b="0" i="0" dirty="0">
                <a:effectLst/>
                <a:latin typeface="Söhne"/>
              </a:rPr>
              <a:t>Open de geconverteerde </a:t>
            </a:r>
            <a:r>
              <a:rPr lang="nl-NL" sz="1600" b="0" i="0" dirty="0" err="1">
                <a:effectLst/>
                <a:latin typeface="Söhne"/>
              </a:rPr>
              <a:t>ttl</a:t>
            </a:r>
            <a:r>
              <a:rPr lang="nl-NL" sz="1600" b="0" i="0" dirty="0">
                <a:effectLst/>
                <a:latin typeface="Söhne"/>
              </a:rPr>
              <a:t> file. Kopieer de juiste prefixen bovenaan de file. Deze staan opgeslagen in </a:t>
            </a:r>
            <a:r>
              <a:rPr lang="nl-NL" sz="1600" b="0" i="0" dirty="0" err="1">
                <a:effectLst/>
                <a:latin typeface="Söhne"/>
              </a:rPr>
              <a:t>Github</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b="0" i="0" dirty="0">
                <a:effectLst/>
                <a:latin typeface="Söhne"/>
              </a:rPr>
              <a:t>Controleer de file op fouten. Zie een aantal fouten benoemd op volgende dia</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AD11CA8-85F1-C671-E7D8-0F6A9333926C}"/>
              </a:ext>
            </a:extLst>
          </p:cNvPr>
          <p:cNvPicPr>
            <a:picLocks noChangeAspect="1"/>
          </p:cNvPicPr>
          <p:nvPr/>
        </p:nvPicPr>
        <p:blipFill>
          <a:blip r:embed="rId3"/>
          <a:stretch>
            <a:fillRect/>
          </a:stretch>
        </p:blipFill>
        <p:spPr>
          <a:xfrm>
            <a:off x="1203109" y="1711141"/>
            <a:ext cx="5574136" cy="3209201"/>
          </a:xfrm>
          <a:prstGeom prst="rect">
            <a:avLst/>
          </a:prstGeom>
        </p:spPr>
      </p:pic>
    </p:spTree>
    <p:extLst>
      <p:ext uri="{BB962C8B-B14F-4D97-AF65-F5344CB8AC3E}">
        <p14:creationId xmlns:p14="http://schemas.microsoft.com/office/powerpoint/2010/main" val="2758261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7725192"/>
          </a:xfrm>
          <a:prstGeom prst="rect">
            <a:avLst/>
          </a:prstGeom>
          <a:noFill/>
        </p:spPr>
        <p:txBody>
          <a:bodyPr wrap="square">
            <a:spAutoFit/>
          </a:bodyPr>
          <a:lstStyle/>
          <a:p>
            <a:pPr marL="342900" indent="-342900" algn="l">
              <a:buAutoNum type="arabicPeriod"/>
            </a:pPr>
            <a:r>
              <a:rPr lang="nl-NL" sz="1600" b="0" i="0" dirty="0">
                <a:effectLst/>
                <a:latin typeface="Söhne"/>
              </a:rPr>
              <a:t>Een van de fouten is de </a:t>
            </a:r>
            <a:r>
              <a:rPr lang="nl-NL" sz="1600" dirty="0">
                <a:latin typeface="Söhne"/>
              </a:rPr>
              <a:t>aanwezigheid van een dubbele “. Dit is te herkennen aan de kleur van de code. Ook fouten in de benaming kunnen voorkomen bijv. met </a:t>
            </a:r>
            <a:r>
              <a:rPr lang="nl-NL" sz="1600" b="1" dirty="0">
                <a:highlight>
                  <a:srgbClr val="00FF00"/>
                </a:highlight>
                <a:latin typeface="Söhne"/>
              </a:rPr>
              <a:t>.</a:t>
            </a:r>
            <a:r>
              <a:rPr lang="nl-NL" sz="1600" dirty="0">
                <a:latin typeface="Söhne"/>
              </a:rPr>
              <a:t> gebruik in </a:t>
            </a:r>
            <a:r>
              <a:rPr lang="nl-NL" sz="1600" dirty="0" err="1">
                <a:latin typeface="Söhne"/>
              </a:rPr>
              <a:t>vb</a:t>
            </a:r>
            <a:r>
              <a:rPr lang="nl-NL" sz="1600" dirty="0">
                <a:latin typeface="Söhne"/>
              </a:rPr>
              <a:t> 2. Hierin is wederom een kleurverschil te zien in de 3. </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b="0" i="0" dirty="0">
                <a:effectLst/>
                <a:latin typeface="Söhne"/>
              </a:rPr>
              <a:t>Daarnaast kunnen er fouten optreden die niet gelijk zichtbaar zullen zijn in de tekst. Als je in de volgende stappen het RDF wilt gaan valideren met de tool zullen deze foutmeldingen verschijnen in de terminal. Wees niet bang als je onbekende zinnen ziet of het niet gelijk begrijpt. Deze tekst kun je kopiëren in </a:t>
            </a:r>
            <a:r>
              <a:rPr lang="nl-NL" sz="1600" b="0" i="0" dirty="0" err="1">
                <a:effectLst/>
                <a:latin typeface="Söhne"/>
              </a:rPr>
              <a:t>chatGPT</a:t>
            </a:r>
            <a:r>
              <a:rPr lang="nl-NL" sz="1600" b="0" i="0" dirty="0">
                <a:effectLst/>
                <a:latin typeface="Söhne"/>
              </a:rPr>
              <a:t> en deze zal aangeven waar het fout gaat of zelfs naar de regel verwijzen waarin het misgaat. Hiervoor kan het belangrijk zijn om te herkennen welk type data (achteraan de zin bijv. string en int) bij welke invulling (in het oranje) hoort. Dit staat beschreven in volgende dia. Wederom als je er niet uitkomt, kan </a:t>
            </a:r>
            <a:r>
              <a:rPr lang="nl-NL" sz="1600" b="0" i="0" dirty="0" err="1">
                <a:effectLst/>
                <a:latin typeface="Söhne"/>
              </a:rPr>
              <a:t>chatGPT</a:t>
            </a:r>
            <a:r>
              <a:rPr lang="nl-NL" sz="1600" b="0" i="0" dirty="0">
                <a:effectLst/>
                <a:latin typeface="Söhne"/>
              </a:rPr>
              <a:t> eventueel helpen wanneer je doorvraagt</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6" name="Afbeelding 5">
            <a:extLst>
              <a:ext uri="{FF2B5EF4-FFF2-40B4-BE49-F238E27FC236}">
                <a16:creationId xmlns:a16="http://schemas.microsoft.com/office/drawing/2014/main" id="{4FB682C9-4999-8FBA-E55C-0AF87EA3846D}"/>
              </a:ext>
            </a:extLst>
          </p:cNvPr>
          <p:cNvPicPr>
            <a:picLocks noChangeAspect="1"/>
          </p:cNvPicPr>
          <p:nvPr/>
        </p:nvPicPr>
        <p:blipFill>
          <a:blip r:embed="rId3"/>
          <a:stretch>
            <a:fillRect/>
          </a:stretch>
        </p:blipFill>
        <p:spPr>
          <a:xfrm>
            <a:off x="403879" y="1902307"/>
            <a:ext cx="5463594" cy="2508481"/>
          </a:xfrm>
          <a:prstGeom prst="rect">
            <a:avLst/>
          </a:prstGeom>
        </p:spPr>
      </p:pic>
      <p:sp>
        <p:nvSpPr>
          <p:cNvPr id="8" name="Ovaal 7">
            <a:extLst>
              <a:ext uri="{FF2B5EF4-FFF2-40B4-BE49-F238E27FC236}">
                <a16:creationId xmlns:a16="http://schemas.microsoft.com/office/drawing/2014/main" id="{31E69D94-6789-B12A-8F82-9A53326D89FA}"/>
              </a:ext>
            </a:extLst>
          </p:cNvPr>
          <p:cNvSpPr/>
          <p:nvPr/>
        </p:nvSpPr>
        <p:spPr>
          <a:xfrm>
            <a:off x="4223657" y="2980714"/>
            <a:ext cx="337457" cy="304800"/>
          </a:xfrm>
          <a:prstGeom prst="ellipse">
            <a:avLst/>
          </a:pr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 name="Afbeelding 9">
            <a:extLst>
              <a:ext uri="{FF2B5EF4-FFF2-40B4-BE49-F238E27FC236}">
                <a16:creationId xmlns:a16="http://schemas.microsoft.com/office/drawing/2014/main" id="{4CD09381-CBC4-99DD-4CCC-B57E00B181C8}"/>
              </a:ext>
            </a:extLst>
          </p:cNvPr>
          <p:cNvPicPr>
            <a:picLocks noChangeAspect="1"/>
          </p:cNvPicPr>
          <p:nvPr/>
        </p:nvPicPr>
        <p:blipFill rotWithShape="1">
          <a:blip r:embed="rId4"/>
          <a:srcRect t="-11081" r="26449" b="1"/>
          <a:stretch/>
        </p:blipFill>
        <p:spPr>
          <a:xfrm>
            <a:off x="5996168" y="1807029"/>
            <a:ext cx="5791953" cy="1045028"/>
          </a:xfrm>
          <a:prstGeom prst="rect">
            <a:avLst/>
          </a:prstGeom>
        </p:spPr>
      </p:pic>
      <p:sp>
        <p:nvSpPr>
          <p:cNvPr id="11" name="Ovaal 10">
            <a:extLst>
              <a:ext uri="{FF2B5EF4-FFF2-40B4-BE49-F238E27FC236}">
                <a16:creationId xmlns:a16="http://schemas.microsoft.com/office/drawing/2014/main" id="{23DABE27-BCF8-E79C-1E27-C2787B9F1634}"/>
              </a:ext>
            </a:extLst>
          </p:cNvPr>
          <p:cNvSpPr/>
          <p:nvPr/>
        </p:nvSpPr>
        <p:spPr>
          <a:xfrm>
            <a:off x="7881258" y="2031273"/>
            <a:ext cx="315686" cy="385356"/>
          </a:xfrm>
          <a:prstGeom prst="ellipse">
            <a:avLst/>
          </a:pr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098907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erschillende datatype en uitleg</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6001643"/>
          </a:xfrm>
          <a:prstGeom prst="rect">
            <a:avLst/>
          </a:prstGeom>
          <a:noFill/>
        </p:spPr>
        <p:txBody>
          <a:bodyPr wrap="square">
            <a:spAutoFit/>
          </a:bodyPr>
          <a:lstStyle/>
          <a:p>
            <a:pPr marL="285750" indent="-285750" algn="l">
              <a:buFont typeface="Arial" panose="020B0604020202020204" pitchFamily="34" charset="0"/>
              <a:buChar char="•"/>
            </a:pPr>
            <a:r>
              <a:rPr lang="nl-NL" sz="1600" b="1" dirty="0" err="1">
                <a:latin typeface="Söhne"/>
              </a:rPr>
              <a:t>Boolean</a:t>
            </a:r>
            <a:r>
              <a:rPr lang="nl-NL" sz="1600" b="1" dirty="0">
                <a:latin typeface="Söhne"/>
              </a:rPr>
              <a:t>: </a:t>
            </a:r>
            <a:r>
              <a:rPr lang="nl-NL" sz="1600" b="0" i="0" dirty="0">
                <a:solidFill>
                  <a:srgbClr val="0D0D0D"/>
                </a:solidFill>
                <a:effectLst/>
                <a:latin typeface="Söhne"/>
              </a:rPr>
              <a:t>Een datatypen die slechts twee mogelijke waarden kan aannemen: waarheid (True) of onwaarheid (</a:t>
            </a:r>
            <a:r>
              <a:rPr lang="nl-NL" sz="1600" b="0" i="0" dirty="0" err="1">
                <a:solidFill>
                  <a:srgbClr val="0D0D0D"/>
                </a:solidFill>
                <a:effectLst/>
                <a:latin typeface="Söhne"/>
              </a:rPr>
              <a:t>False</a:t>
            </a:r>
            <a:r>
              <a:rPr lang="nl-NL" sz="1600" b="0" i="0" dirty="0">
                <a:solidFill>
                  <a:srgbClr val="0D0D0D"/>
                </a:solidFill>
                <a:effectLst/>
                <a:latin typeface="Söhne"/>
              </a:rPr>
              <a:t>).</a:t>
            </a:r>
            <a:br>
              <a:rPr lang="nl-NL" sz="1600" b="0" i="0" dirty="0">
                <a:solidFill>
                  <a:srgbClr val="0D0D0D"/>
                </a:solidFill>
                <a:effectLst/>
                <a:latin typeface="Söhne"/>
              </a:rPr>
            </a:br>
            <a:r>
              <a:rPr lang="nl-NL" sz="1600" b="0" i="0" dirty="0">
                <a:solidFill>
                  <a:srgbClr val="0D0D0D"/>
                </a:solidFill>
                <a:effectLst/>
                <a:latin typeface="Söhne"/>
              </a:rPr>
              <a:t>VB: “True”^^</a:t>
            </a:r>
            <a:r>
              <a:rPr lang="nl-NL" sz="1600" b="0" i="0" dirty="0" err="1">
                <a:solidFill>
                  <a:srgbClr val="0D0D0D"/>
                </a:solidFill>
                <a:effectLst/>
                <a:latin typeface="Söhne"/>
              </a:rPr>
              <a:t>xsd:boolean</a:t>
            </a:r>
            <a:endParaRPr lang="nl-NL" sz="1600" b="0" i="0" dirty="0">
              <a:solidFill>
                <a:srgbClr val="0D0D0D"/>
              </a:solidFill>
              <a:effectLst/>
              <a:latin typeface="Söhne"/>
            </a:endParaRPr>
          </a:p>
          <a:p>
            <a:pPr marL="285750" indent="-285750" algn="l">
              <a:buFont typeface="Arial" panose="020B0604020202020204" pitchFamily="34" charset="0"/>
              <a:buChar char="•"/>
            </a:pPr>
            <a:endParaRPr lang="nl-NL" sz="1600" b="0" i="0" dirty="0">
              <a:solidFill>
                <a:srgbClr val="0D0D0D"/>
              </a:solidFill>
              <a:effectLst/>
              <a:latin typeface="Söhne"/>
            </a:endParaRPr>
          </a:p>
          <a:p>
            <a:pPr marL="285750" indent="-285750" algn="l">
              <a:buFont typeface="Arial" panose="020B0604020202020204" pitchFamily="34" charset="0"/>
              <a:buChar char="•"/>
            </a:pPr>
            <a:r>
              <a:rPr lang="nl-NL" sz="1600" b="1" dirty="0">
                <a:solidFill>
                  <a:srgbClr val="0D0D0D"/>
                </a:solidFill>
                <a:latin typeface="Söhne"/>
              </a:rPr>
              <a:t>Integer: </a:t>
            </a:r>
            <a:r>
              <a:rPr lang="nl-NL" sz="1600" dirty="0">
                <a:solidFill>
                  <a:srgbClr val="0D0D0D"/>
                </a:solidFill>
                <a:latin typeface="Söhne"/>
              </a:rPr>
              <a:t>Een geheel getal zonder decimalen, positief of negatief.</a:t>
            </a:r>
            <a:br>
              <a:rPr lang="nl-NL" sz="1600" dirty="0">
                <a:solidFill>
                  <a:srgbClr val="0D0D0D"/>
                </a:solidFill>
                <a:latin typeface="Söhne"/>
              </a:rPr>
            </a:br>
            <a:r>
              <a:rPr lang="nl-NL" sz="1600" dirty="0">
                <a:solidFill>
                  <a:srgbClr val="0D0D0D"/>
                </a:solidFill>
                <a:latin typeface="Söhne"/>
              </a:rPr>
              <a:t>VB: “50” ^^ </a:t>
            </a:r>
            <a:r>
              <a:rPr lang="nl-NL" sz="1600" dirty="0" err="1">
                <a:solidFill>
                  <a:srgbClr val="0D0D0D"/>
                </a:solidFill>
                <a:latin typeface="Söhne"/>
              </a:rPr>
              <a:t>xsd:int</a:t>
            </a:r>
            <a:endParaRPr lang="nl-NL" sz="1600" dirty="0">
              <a:solidFill>
                <a:srgbClr val="0D0D0D"/>
              </a:solidFill>
              <a:latin typeface="Söhne"/>
            </a:endParaRPr>
          </a:p>
          <a:p>
            <a:pPr marL="285750" indent="-285750" algn="l">
              <a:buFont typeface="Arial" panose="020B0604020202020204" pitchFamily="34" charset="0"/>
              <a:buChar char="•"/>
            </a:pPr>
            <a:endParaRPr lang="nl-NL" sz="1600" dirty="0">
              <a:solidFill>
                <a:srgbClr val="0D0D0D"/>
              </a:solidFill>
              <a:latin typeface="Söhne"/>
            </a:endParaRPr>
          </a:p>
          <a:p>
            <a:pPr marL="285750" indent="-285750" algn="l">
              <a:buFont typeface="Arial" panose="020B0604020202020204" pitchFamily="34" charset="0"/>
              <a:buChar char="•"/>
            </a:pPr>
            <a:r>
              <a:rPr lang="nl-NL" sz="1600" b="1" i="0" dirty="0">
                <a:solidFill>
                  <a:srgbClr val="0D0D0D"/>
                </a:solidFill>
                <a:effectLst/>
                <a:latin typeface="Söhne"/>
              </a:rPr>
              <a:t>String: </a:t>
            </a:r>
            <a:r>
              <a:rPr lang="nl-NL" sz="1600" dirty="0">
                <a:solidFill>
                  <a:srgbClr val="0D0D0D"/>
                </a:solidFill>
                <a:latin typeface="Söhne"/>
              </a:rPr>
              <a:t>Een reeks van karakters, zoals letters, cijfers en speciale tekens.</a:t>
            </a:r>
            <a:br>
              <a:rPr lang="nl-NL" sz="1600" dirty="0">
                <a:solidFill>
                  <a:srgbClr val="0D0D0D"/>
                </a:solidFill>
                <a:latin typeface="Söhne"/>
              </a:rPr>
            </a:br>
            <a:r>
              <a:rPr lang="nl-NL" sz="1600" dirty="0">
                <a:solidFill>
                  <a:srgbClr val="0D0D0D"/>
                </a:solidFill>
                <a:latin typeface="Söhne"/>
              </a:rPr>
              <a:t>VB: “3d5rFF ” ^^ </a:t>
            </a:r>
            <a:r>
              <a:rPr lang="nl-NL" sz="1600" dirty="0" err="1">
                <a:solidFill>
                  <a:srgbClr val="0D0D0D"/>
                </a:solidFill>
                <a:latin typeface="Söhne"/>
              </a:rPr>
              <a:t>xsd:string</a:t>
            </a:r>
            <a:endParaRPr lang="nl-NL" sz="1600" dirty="0">
              <a:solidFill>
                <a:srgbClr val="0D0D0D"/>
              </a:solidFill>
              <a:latin typeface="Söhne"/>
            </a:endParaRPr>
          </a:p>
          <a:p>
            <a:pPr marL="285750" indent="-285750" algn="l">
              <a:buFont typeface="Arial" panose="020B0604020202020204" pitchFamily="34" charset="0"/>
              <a:buChar char="•"/>
            </a:pPr>
            <a:endParaRPr lang="nl-NL" sz="1600" dirty="0">
              <a:solidFill>
                <a:srgbClr val="0D0D0D"/>
              </a:solidFill>
              <a:latin typeface="Söhne"/>
            </a:endParaRPr>
          </a:p>
          <a:p>
            <a:pPr marL="285750" indent="-285750" algn="l">
              <a:buFont typeface="Arial" panose="020B0604020202020204" pitchFamily="34" charset="0"/>
              <a:buChar char="•"/>
            </a:pPr>
            <a:r>
              <a:rPr lang="nl-NL" sz="1600" b="1" dirty="0" err="1">
                <a:latin typeface="Söhne"/>
              </a:rPr>
              <a:t>Decimal</a:t>
            </a:r>
            <a:r>
              <a:rPr lang="nl-NL" sz="1600" b="1" dirty="0">
                <a:latin typeface="Söhne"/>
              </a:rPr>
              <a:t>: </a:t>
            </a:r>
            <a:r>
              <a:rPr lang="nl-NL" sz="1600" dirty="0">
                <a:latin typeface="Söhne"/>
              </a:rPr>
              <a:t>Een decimaal getal met een willekeurig aantal decimalen. </a:t>
            </a:r>
          </a:p>
          <a:p>
            <a:pPr marL="285750" indent="-285750" algn="l">
              <a:buFont typeface="Arial" panose="020B0604020202020204" pitchFamily="34" charset="0"/>
              <a:buChar char="•"/>
            </a:pPr>
            <a:r>
              <a:rPr lang="nl-NL" sz="1600" b="0" i="0" dirty="0">
                <a:effectLst/>
                <a:latin typeface="Söhne"/>
              </a:rPr>
              <a:t>VB: “0.5” ^^</a:t>
            </a:r>
            <a:r>
              <a:rPr lang="nl-NL" sz="1600" b="0" i="0" dirty="0" err="1">
                <a:effectLst/>
                <a:latin typeface="Söhne"/>
              </a:rPr>
              <a:t>xsd:decimal</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spTree>
    <p:extLst>
      <p:ext uri="{BB962C8B-B14F-4D97-AF65-F5344CB8AC3E}">
        <p14:creationId xmlns:p14="http://schemas.microsoft.com/office/powerpoint/2010/main" val="24832562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859858" y="2191381"/>
            <a:ext cx="10472284" cy="9941183"/>
          </a:xfrm>
          <a:prstGeom prst="rect">
            <a:avLst/>
          </a:prstGeom>
          <a:noFill/>
        </p:spPr>
        <p:txBody>
          <a:bodyPr wrap="square">
            <a:spAutoFit/>
          </a:bodyPr>
          <a:lstStyle/>
          <a:p>
            <a:pPr algn="l"/>
            <a:r>
              <a:rPr lang="nl-NL" sz="1600" b="1" i="0" dirty="0">
                <a:solidFill>
                  <a:srgbClr val="FF0000"/>
                </a:solidFill>
                <a:effectLst/>
                <a:latin typeface="Söhne"/>
              </a:rPr>
              <a:t>Op dit moment converteert de converter nog niet de DPP </a:t>
            </a:r>
            <a:r>
              <a:rPr lang="nl-NL" sz="1600" b="1" i="0" dirty="0" err="1">
                <a:solidFill>
                  <a:srgbClr val="FF0000"/>
                </a:solidFill>
                <a:effectLst/>
                <a:latin typeface="Söhne"/>
              </a:rPr>
              <a:t>ontology</a:t>
            </a:r>
            <a:r>
              <a:rPr lang="nl-NL" sz="1600" b="1" i="0" dirty="0">
                <a:solidFill>
                  <a:srgbClr val="FF0000"/>
                </a:solidFill>
                <a:effectLst/>
                <a:latin typeface="Söhne"/>
              </a:rPr>
              <a:t>. Dit betekend dat deze niet is opgenomen in vorige stap. Mocht dit in de toekomst aangepast worden dienen voorgaande stappen met de nieuwe converter te worden doorlopen. Nu kunnen de volgende stappen worden doorlopen met gebruik van een oefen RDF bestand beschikbaar in </a:t>
            </a:r>
            <a:r>
              <a:rPr lang="nl-NL" sz="1600" b="1" i="0" dirty="0" err="1">
                <a:solidFill>
                  <a:srgbClr val="FF0000"/>
                </a:solidFill>
                <a:effectLst/>
                <a:latin typeface="Söhne"/>
              </a:rPr>
              <a:t>github</a:t>
            </a:r>
            <a:r>
              <a:rPr lang="nl-NL" sz="1600" b="1" i="0" dirty="0">
                <a:solidFill>
                  <a:srgbClr val="FF0000"/>
                </a:solidFill>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spTree>
    <p:extLst>
      <p:ext uri="{BB962C8B-B14F-4D97-AF65-F5344CB8AC3E}">
        <p14:creationId xmlns:p14="http://schemas.microsoft.com/office/powerpoint/2010/main" val="114589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524315"/>
          </a:xfrm>
          <a:prstGeom prst="rect">
            <a:avLst/>
          </a:prstGeom>
          <a:noFill/>
        </p:spPr>
        <p:txBody>
          <a:bodyPr wrap="square">
            <a:spAutoFit/>
          </a:bodyPr>
          <a:lstStyle/>
          <a:p>
            <a:pPr marL="342900" indent="-342900" algn="l">
              <a:buAutoNum type="arabicPeriod"/>
            </a:pPr>
            <a:r>
              <a:rPr lang="nl-NL" sz="1600" dirty="0">
                <a:latin typeface="Söhne"/>
              </a:rPr>
              <a:t>Download de </a:t>
            </a:r>
            <a:r>
              <a:rPr lang="nl-NL" sz="1600" dirty="0" err="1">
                <a:latin typeface="Söhne"/>
              </a:rPr>
              <a:t>PySHACL_TEST_Environment</a:t>
            </a:r>
            <a:r>
              <a:rPr lang="nl-NL" sz="1600" dirty="0">
                <a:latin typeface="Söhne"/>
              </a:rPr>
              <a:t> file uit </a:t>
            </a:r>
            <a:r>
              <a:rPr lang="nl-NL" sz="1600" dirty="0" err="1">
                <a:latin typeface="Söhne"/>
              </a:rPr>
              <a:t>Github</a:t>
            </a:r>
            <a:r>
              <a:rPr lang="nl-NL" sz="1600" dirty="0">
                <a:latin typeface="Söhne"/>
              </a:rPr>
              <a:t> samen met het SHACL bestand. Sla deze op in je python omgeving</a:t>
            </a:r>
          </a:p>
          <a:p>
            <a:pPr marL="342900" indent="-342900" algn="l">
              <a:buAutoNum type="arabicPeriod"/>
            </a:pPr>
            <a:endParaRPr lang="nl-NL" sz="1600" dirty="0">
              <a:latin typeface="Söhne"/>
            </a:endParaRPr>
          </a:p>
          <a:p>
            <a:pPr marL="342900" indent="-342900" algn="l">
              <a:buAutoNum type="arabicPeriod"/>
            </a:pPr>
            <a:r>
              <a:rPr lang="nl-NL" sz="1600" dirty="0">
                <a:latin typeface="Söhne"/>
              </a:rPr>
              <a:t>Importeer de benodigde packages (zoals beschreven in dia 6) die in het </a:t>
            </a:r>
            <a:r>
              <a:rPr lang="nl-NL" sz="1600" dirty="0" err="1">
                <a:latin typeface="Söhne"/>
              </a:rPr>
              <a:t>PySHACL</a:t>
            </a:r>
            <a:r>
              <a:rPr lang="nl-NL" sz="1600" dirty="0">
                <a:latin typeface="Söhne"/>
              </a:rPr>
              <a:t> bestand staan. </a:t>
            </a:r>
          </a:p>
          <a:p>
            <a:pPr marL="342900" indent="-342900" algn="l">
              <a:buAutoNum type="arabicPeriod"/>
            </a:pPr>
            <a:endParaRPr lang="nl-NL" sz="1600" dirty="0">
              <a:latin typeface="Söhne"/>
            </a:endParaRPr>
          </a:p>
          <a:p>
            <a:pPr algn="l"/>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D284DFF6-961E-1D39-3A52-B384B8196567}"/>
              </a:ext>
            </a:extLst>
          </p:cNvPr>
          <p:cNvPicPr>
            <a:picLocks noChangeAspect="1"/>
          </p:cNvPicPr>
          <p:nvPr/>
        </p:nvPicPr>
        <p:blipFill>
          <a:blip r:embed="rId3"/>
          <a:stretch>
            <a:fillRect/>
          </a:stretch>
        </p:blipFill>
        <p:spPr>
          <a:xfrm>
            <a:off x="637413" y="2956006"/>
            <a:ext cx="10917174" cy="2476846"/>
          </a:xfrm>
          <a:prstGeom prst="rect">
            <a:avLst/>
          </a:prstGeom>
        </p:spPr>
      </p:pic>
    </p:spTree>
    <p:extLst>
      <p:ext uri="{BB962C8B-B14F-4D97-AF65-F5344CB8AC3E}">
        <p14:creationId xmlns:p14="http://schemas.microsoft.com/office/powerpoint/2010/main" val="40448258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524315"/>
          </a:xfrm>
          <a:prstGeom prst="rect">
            <a:avLst/>
          </a:prstGeom>
          <a:noFill/>
          <a:ln>
            <a:noFill/>
          </a:ln>
        </p:spPr>
        <p:txBody>
          <a:bodyPr wrap="square">
            <a:spAutoFit/>
          </a:bodyPr>
          <a:lstStyle/>
          <a:p>
            <a:pPr marL="342900" indent="-342900" algn="l">
              <a:buAutoNum type="arabicPeriod"/>
            </a:pPr>
            <a:r>
              <a:rPr lang="nl-NL" sz="1600" dirty="0">
                <a:latin typeface="Söhne"/>
              </a:rPr>
              <a:t>Vul de naam in van het </a:t>
            </a:r>
            <a:r>
              <a:rPr lang="nl-NL" sz="1600" dirty="0" err="1">
                <a:latin typeface="Söhne"/>
              </a:rPr>
              <a:t>ttl</a:t>
            </a:r>
            <a:r>
              <a:rPr lang="nl-NL" sz="1600" dirty="0">
                <a:latin typeface="Söhne"/>
              </a:rPr>
              <a:t> bestand (RDF). Vergeet de mapnaam niet te benoemen met \\ indien deze in een map opgeslagen staat (in regel 17, zie figuur). In het voorbeeld staat het </a:t>
            </a:r>
            <a:r>
              <a:rPr lang="nl-NL" sz="1600" dirty="0" err="1">
                <a:latin typeface="Söhne"/>
              </a:rPr>
              <a:t>ttl</a:t>
            </a:r>
            <a:r>
              <a:rPr lang="nl-NL" sz="1600" dirty="0">
                <a:latin typeface="Söhne"/>
              </a:rPr>
              <a:t> bestand opgeslagen in de map genaamd ‘files’. </a:t>
            </a:r>
          </a:p>
          <a:p>
            <a:pPr marL="342900" indent="-342900" algn="l">
              <a:buAutoNum type="arabicPeriod"/>
            </a:pPr>
            <a:endParaRPr lang="nl-NL" sz="1600" dirty="0">
              <a:latin typeface="Söhne"/>
            </a:endParaRPr>
          </a:p>
          <a:p>
            <a:pPr marL="342900" indent="-342900" algn="l">
              <a:buAutoNum type="arabicPeriod"/>
            </a:pPr>
            <a:r>
              <a:rPr lang="nl-NL" sz="1600" dirty="0">
                <a:latin typeface="Söhne"/>
              </a:rPr>
              <a:t>Run de code door op het pijltje </a:t>
            </a:r>
            <a:r>
              <a:rPr lang="nl-NL" sz="1600" dirty="0" err="1">
                <a:latin typeface="Söhne"/>
              </a:rPr>
              <a:t>rechtsbovenin</a:t>
            </a:r>
            <a:r>
              <a:rPr lang="nl-NL" sz="1600" dirty="0">
                <a:latin typeface="Söhne"/>
              </a:rPr>
              <a:t> te klikken zoals in dia 9 beschreven</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algn="l"/>
            <a:endParaRPr lang="nl-NL" sz="1600" i="1" u="sng" dirty="0">
              <a:solidFill>
                <a:srgbClr val="FF0000"/>
              </a:solidFill>
              <a:latin typeface="Söhne"/>
            </a:endParaRPr>
          </a:p>
          <a:p>
            <a:pPr algn="l"/>
            <a:r>
              <a:rPr lang="nl-NL" sz="1600" i="1" u="sng" dirty="0">
                <a:solidFill>
                  <a:srgbClr val="FF0000"/>
                </a:solidFill>
                <a:latin typeface="Söhne"/>
              </a:rPr>
              <a:t>Wanneer je wilt oefenen met de validatietool begin dan bij deze stap met het gebruik van </a:t>
            </a:r>
            <a:r>
              <a:rPr lang="nl-NL" sz="1600" i="1" u="sng" dirty="0" err="1">
                <a:solidFill>
                  <a:srgbClr val="FF0000"/>
                </a:solidFill>
                <a:latin typeface="Söhne"/>
              </a:rPr>
              <a:t>oefenfileX</a:t>
            </a:r>
            <a:r>
              <a:rPr lang="nl-NL" sz="1600" i="1" u="sng" dirty="0">
                <a:solidFill>
                  <a:srgbClr val="FF0000"/>
                </a:solidFill>
                <a:latin typeface="Söhne"/>
              </a:rPr>
              <a:t>. Deze kun je downloaden uit </a:t>
            </a:r>
            <a:r>
              <a:rPr lang="nl-NL" sz="1600" i="1" u="sng" dirty="0" err="1">
                <a:solidFill>
                  <a:srgbClr val="FF0000"/>
                </a:solidFill>
                <a:latin typeface="Söhne"/>
              </a:rPr>
              <a:t>Github</a:t>
            </a:r>
            <a:r>
              <a:rPr lang="nl-NL" sz="1600" i="1" u="sng" dirty="0">
                <a:solidFill>
                  <a:srgbClr val="FF0000"/>
                </a:solidFill>
                <a:latin typeface="Söhne"/>
              </a:rPr>
              <a:t>. </a:t>
            </a: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1FA769F-B94A-0CE5-B5C8-61F9E2126D0E}"/>
              </a:ext>
            </a:extLst>
          </p:cNvPr>
          <p:cNvPicPr>
            <a:picLocks noChangeAspect="1"/>
          </p:cNvPicPr>
          <p:nvPr/>
        </p:nvPicPr>
        <p:blipFill>
          <a:blip r:embed="rId3"/>
          <a:stretch>
            <a:fillRect/>
          </a:stretch>
        </p:blipFill>
        <p:spPr>
          <a:xfrm>
            <a:off x="708604" y="2545440"/>
            <a:ext cx="10710508" cy="2343656"/>
          </a:xfrm>
          <a:prstGeom prst="rect">
            <a:avLst/>
          </a:prstGeom>
        </p:spPr>
      </p:pic>
    </p:spTree>
    <p:extLst>
      <p:ext uri="{BB962C8B-B14F-4D97-AF65-F5344CB8AC3E}">
        <p14:creationId xmlns:p14="http://schemas.microsoft.com/office/powerpoint/2010/main" val="3853690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524315"/>
          </a:xfrm>
          <a:prstGeom prst="rect">
            <a:avLst/>
          </a:prstGeom>
          <a:noFill/>
          <a:ln>
            <a:noFill/>
          </a:ln>
        </p:spPr>
        <p:txBody>
          <a:bodyPr wrap="square">
            <a:spAutoFit/>
          </a:bodyPr>
          <a:lstStyle/>
          <a:p>
            <a:pPr marL="342900" indent="-342900" algn="l">
              <a:buAutoNum type="arabicPeriod"/>
            </a:pPr>
            <a:r>
              <a:rPr lang="nl-NL" sz="1600" dirty="0">
                <a:latin typeface="Söhne"/>
              </a:rPr>
              <a:t>Het validatierapport is terug te vinden binnen de VSC omgeving én als PDF te downloaden in dezelfde map als waar het RDF opgeslagen staat. Het PDF bevat ook de missende ‘classes’ (dus als een onderwerp in zijn geheel ontbreekt). De terminal in VSC bevat enkel missende </a:t>
            </a:r>
            <a:r>
              <a:rPr lang="nl-NL" sz="1600" dirty="0" err="1">
                <a:latin typeface="Söhne"/>
              </a:rPr>
              <a:t>properties</a:t>
            </a:r>
            <a:r>
              <a:rPr lang="nl-NL" sz="1600" dirty="0">
                <a:latin typeface="Söhne"/>
              </a:rPr>
              <a:t> (wanneer een onderwerp aanwezig is maar niet alle informatie ervan compleet is)</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E6DCF8B3-445E-38A3-E0B3-F6E7EF7BA983}"/>
              </a:ext>
            </a:extLst>
          </p:cNvPr>
          <p:cNvPicPr>
            <a:picLocks noChangeAspect="1"/>
          </p:cNvPicPr>
          <p:nvPr/>
        </p:nvPicPr>
        <p:blipFill>
          <a:blip r:embed="rId3"/>
          <a:stretch>
            <a:fillRect/>
          </a:stretch>
        </p:blipFill>
        <p:spPr>
          <a:xfrm>
            <a:off x="2172214" y="2320616"/>
            <a:ext cx="7237969" cy="3846184"/>
          </a:xfrm>
          <a:prstGeom prst="rect">
            <a:avLst/>
          </a:prstGeom>
        </p:spPr>
      </p:pic>
      <p:cxnSp>
        <p:nvCxnSpPr>
          <p:cNvPr id="9" name="Rechte verbindingslijn met pijl 8">
            <a:extLst>
              <a:ext uri="{FF2B5EF4-FFF2-40B4-BE49-F238E27FC236}">
                <a16:creationId xmlns:a16="http://schemas.microsoft.com/office/drawing/2014/main" id="{EBB37A7A-64AB-FA76-5C75-198079249833}"/>
              </a:ext>
            </a:extLst>
          </p:cNvPr>
          <p:cNvCxnSpPr/>
          <p:nvPr/>
        </p:nvCxnSpPr>
        <p:spPr>
          <a:xfrm>
            <a:off x="1686078" y="2708476"/>
            <a:ext cx="486136"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Rechte verbindingslijn met pijl 10">
            <a:extLst>
              <a:ext uri="{FF2B5EF4-FFF2-40B4-BE49-F238E27FC236}">
                <a16:creationId xmlns:a16="http://schemas.microsoft.com/office/drawing/2014/main" id="{FECDDC52-2CC4-7BDB-4690-A6A8632204D3}"/>
              </a:ext>
            </a:extLst>
          </p:cNvPr>
          <p:cNvCxnSpPr/>
          <p:nvPr/>
        </p:nvCxnSpPr>
        <p:spPr>
          <a:xfrm>
            <a:off x="1778607" y="5817303"/>
            <a:ext cx="690722"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6698123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7" name="Tekstvak 6">
            <a:extLst>
              <a:ext uri="{FF2B5EF4-FFF2-40B4-BE49-F238E27FC236}">
                <a16:creationId xmlns:a16="http://schemas.microsoft.com/office/drawing/2014/main" id="{6130060B-082D-F851-D95A-F23B46F433C6}"/>
              </a:ext>
            </a:extLst>
          </p:cNvPr>
          <p:cNvSpPr txBox="1"/>
          <p:nvPr/>
        </p:nvSpPr>
        <p:spPr>
          <a:xfrm>
            <a:off x="859858" y="1163713"/>
            <a:ext cx="10472284" cy="830997"/>
          </a:xfrm>
          <a:prstGeom prst="rect">
            <a:avLst/>
          </a:prstGeom>
          <a:noFill/>
          <a:ln>
            <a:noFill/>
          </a:ln>
        </p:spPr>
        <p:txBody>
          <a:bodyPr wrap="square">
            <a:spAutoFit/>
          </a:bodyPr>
          <a:lstStyle/>
          <a:p>
            <a:pPr marL="342900" indent="-342900" algn="l">
              <a:buAutoNum type="arabicPeriod"/>
            </a:pPr>
            <a:r>
              <a:rPr lang="nl-NL" sz="1600" dirty="0">
                <a:latin typeface="Söhne"/>
              </a:rPr>
              <a:t>Het voorbeeld in VSC en in PDF</a:t>
            </a:r>
          </a:p>
          <a:p>
            <a:pPr marL="342900" indent="-342900" algn="l">
              <a:buAutoNum type="arabicPeriod"/>
            </a:pPr>
            <a:r>
              <a:rPr lang="nl-NL" sz="1600" dirty="0">
                <a:latin typeface="Söhne"/>
              </a:rPr>
              <a:t>Zie volgende dia voor een voorbeeld (in combinatie met deze dia)</a:t>
            </a: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CBD8B7F-B249-53A6-27A5-1D1C3144B3AD}"/>
              </a:ext>
            </a:extLst>
          </p:cNvPr>
          <p:cNvPicPr>
            <a:picLocks noChangeAspect="1"/>
          </p:cNvPicPr>
          <p:nvPr/>
        </p:nvPicPr>
        <p:blipFill>
          <a:blip r:embed="rId3"/>
          <a:stretch>
            <a:fillRect/>
          </a:stretch>
        </p:blipFill>
        <p:spPr>
          <a:xfrm>
            <a:off x="380649" y="1806378"/>
            <a:ext cx="6402362" cy="3173860"/>
          </a:xfrm>
          <a:prstGeom prst="rect">
            <a:avLst/>
          </a:prstGeom>
        </p:spPr>
      </p:pic>
      <p:pic>
        <p:nvPicPr>
          <p:cNvPr id="9" name="Afbeelding 8">
            <a:extLst>
              <a:ext uri="{FF2B5EF4-FFF2-40B4-BE49-F238E27FC236}">
                <a16:creationId xmlns:a16="http://schemas.microsoft.com/office/drawing/2014/main" id="{D108FD5E-A0FD-AFA1-98A3-ACDE1BC30FE6}"/>
              </a:ext>
            </a:extLst>
          </p:cNvPr>
          <p:cNvPicPr>
            <a:picLocks noChangeAspect="1"/>
          </p:cNvPicPr>
          <p:nvPr/>
        </p:nvPicPr>
        <p:blipFill>
          <a:blip r:embed="rId4"/>
          <a:stretch>
            <a:fillRect/>
          </a:stretch>
        </p:blipFill>
        <p:spPr>
          <a:xfrm>
            <a:off x="6835264" y="1877763"/>
            <a:ext cx="4492735" cy="2972117"/>
          </a:xfrm>
          <a:prstGeom prst="rect">
            <a:avLst/>
          </a:prstGeom>
        </p:spPr>
      </p:pic>
      <p:cxnSp>
        <p:nvCxnSpPr>
          <p:cNvPr id="11" name="Rechte verbindingslijn met pijl 10">
            <a:extLst>
              <a:ext uri="{FF2B5EF4-FFF2-40B4-BE49-F238E27FC236}">
                <a16:creationId xmlns:a16="http://schemas.microsoft.com/office/drawing/2014/main" id="{B719257B-7B55-DC43-2E2C-7EF22356D0E3}"/>
              </a:ext>
            </a:extLst>
          </p:cNvPr>
          <p:cNvCxnSpPr>
            <a:cxnSpLocks/>
          </p:cNvCxnSpPr>
          <p:nvPr/>
        </p:nvCxnSpPr>
        <p:spPr>
          <a:xfrm>
            <a:off x="10093124" y="1292988"/>
            <a:ext cx="0" cy="11865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kstvak 12">
            <a:extLst>
              <a:ext uri="{FF2B5EF4-FFF2-40B4-BE49-F238E27FC236}">
                <a16:creationId xmlns:a16="http://schemas.microsoft.com/office/drawing/2014/main" id="{FA0BD8ED-5E75-8325-8717-1ABA9F0F635A}"/>
              </a:ext>
            </a:extLst>
          </p:cNvPr>
          <p:cNvSpPr txBox="1"/>
          <p:nvPr/>
        </p:nvSpPr>
        <p:spPr>
          <a:xfrm>
            <a:off x="8686800" y="605536"/>
            <a:ext cx="2392718" cy="923330"/>
          </a:xfrm>
          <a:prstGeom prst="rect">
            <a:avLst/>
          </a:prstGeom>
          <a:noFill/>
        </p:spPr>
        <p:txBody>
          <a:bodyPr wrap="square" rtlCol="0">
            <a:spAutoFit/>
          </a:bodyPr>
          <a:lstStyle/>
          <a:p>
            <a:r>
              <a:rPr lang="nl-NL" dirty="0"/>
              <a:t>Ontbrekende onderwerpen (classes)</a:t>
            </a:r>
          </a:p>
        </p:txBody>
      </p:sp>
      <p:sp>
        <p:nvSpPr>
          <p:cNvPr id="14" name="Tekstvak 13">
            <a:extLst>
              <a:ext uri="{FF2B5EF4-FFF2-40B4-BE49-F238E27FC236}">
                <a16:creationId xmlns:a16="http://schemas.microsoft.com/office/drawing/2014/main" id="{B35AA210-CC32-1DE3-DB03-C2B61186BA1B}"/>
              </a:ext>
            </a:extLst>
          </p:cNvPr>
          <p:cNvSpPr txBox="1"/>
          <p:nvPr/>
        </p:nvSpPr>
        <p:spPr>
          <a:xfrm>
            <a:off x="7911226" y="5156316"/>
            <a:ext cx="1769683" cy="646331"/>
          </a:xfrm>
          <a:prstGeom prst="rect">
            <a:avLst/>
          </a:prstGeom>
          <a:noFill/>
        </p:spPr>
        <p:txBody>
          <a:bodyPr wrap="square" rtlCol="0">
            <a:spAutoFit/>
          </a:bodyPr>
          <a:lstStyle/>
          <a:p>
            <a:r>
              <a:rPr lang="nl-NL" dirty="0"/>
              <a:t>Ontbrekende </a:t>
            </a:r>
            <a:r>
              <a:rPr lang="nl-NL" dirty="0" err="1"/>
              <a:t>properties</a:t>
            </a:r>
            <a:endParaRPr lang="nl-NL" dirty="0"/>
          </a:p>
        </p:txBody>
      </p:sp>
      <p:cxnSp>
        <p:nvCxnSpPr>
          <p:cNvPr id="15" name="Rechte verbindingslijn met pijl 14">
            <a:extLst>
              <a:ext uri="{FF2B5EF4-FFF2-40B4-BE49-F238E27FC236}">
                <a16:creationId xmlns:a16="http://schemas.microsoft.com/office/drawing/2014/main" id="{F276E797-DC3A-B01B-72F5-06B3B42BEB2A}"/>
              </a:ext>
            </a:extLst>
          </p:cNvPr>
          <p:cNvCxnSpPr>
            <a:cxnSpLocks/>
          </p:cNvCxnSpPr>
          <p:nvPr/>
        </p:nvCxnSpPr>
        <p:spPr>
          <a:xfrm flipV="1">
            <a:off x="9462234" y="4849880"/>
            <a:ext cx="0" cy="621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Rechte verbindingslijn met pijl 16">
            <a:extLst>
              <a:ext uri="{FF2B5EF4-FFF2-40B4-BE49-F238E27FC236}">
                <a16:creationId xmlns:a16="http://schemas.microsoft.com/office/drawing/2014/main" id="{D1731E4F-425A-3553-581B-C26B0328C776}"/>
              </a:ext>
            </a:extLst>
          </p:cNvPr>
          <p:cNvCxnSpPr>
            <a:cxnSpLocks/>
          </p:cNvCxnSpPr>
          <p:nvPr/>
        </p:nvCxnSpPr>
        <p:spPr>
          <a:xfrm flipV="1">
            <a:off x="4417601" y="4980238"/>
            <a:ext cx="0" cy="668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kstvak 18">
            <a:extLst>
              <a:ext uri="{FF2B5EF4-FFF2-40B4-BE49-F238E27FC236}">
                <a16:creationId xmlns:a16="http://schemas.microsoft.com/office/drawing/2014/main" id="{FE8A4338-CB20-657A-4DB8-B122D66DABDC}"/>
              </a:ext>
            </a:extLst>
          </p:cNvPr>
          <p:cNvSpPr txBox="1"/>
          <p:nvPr/>
        </p:nvSpPr>
        <p:spPr>
          <a:xfrm>
            <a:off x="2926676" y="5044642"/>
            <a:ext cx="1769683" cy="646331"/>
          </a:xfrm>
          <a:prstGeom prst="rect">
            <a:avLst/>
          </a:prstGeom>
          <a:noFill/>
        </p:spPr>
        <p:txBody>
          <a:bodyPr wrap="square" rtlCol="0">
            <a:spAutoFit/>
          </a:bodyPr>
          <a:lstStyle/>
          <a:p>
            <a:r>
              <a:rPr lang="nl-NL" dirty="0"/>
              <a:t>Ontbrekende </a:t>
            </a:r>
            <a:r>
              <a:rPr lang="nl-NL" dirty="0" err="1"/>
              <a:t>properties</a:t>
            </a:r>
            <a:endParaRPr lang="nl-NL" dirty="0"/>
          </a:p>
        </p:txBody>
      </p:sp>
      <p:sp>
        <p:nvSpPr>
          <p:cNvPr id="4" name="Ovaal 3">
            <a:extLst>
              <a:ext uri="{FF2B5EF4-FFF2-40B4-BE49-F238E27FC236}">
                <a16:creationId xmlns:a16="http://schemas.microsoft.com/office/drawing/2014/main" id="{4C6B8301-CEE0-44A1-B3BA-01FEBD611CDE}"/>
              </a:ext>
            </a:extLst>
          </p:cNvPr>
          <p:cNvSpPr/>
          <p:nvPr/>
        </p:nvSpPr>
        <p:spPr>
          <a:xfrm>
            <a:off x="7078204" y="3442720"/>
            <a:ext cx="885275" cy="256592"/>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39586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 classes en </a:t>
            </a:r>
            <a:r>
              <a:rPr lang="nl-NL" dirty="0" err="1"/>
              <a:t>properties</a:t>
            </a:r>
            <a:endParaRPr lang="nl-NL" dirty="0"/>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1323439"/>
          </a:xfrm>
          <a:prstGeom prst="rect">
            <a:avLst/>
          </a:prstGeom>
          <a:noFill/>
          <a:ln>
            <a:noFill/>
          </a:ln>
        </p:spPr>
        <p:txBody>
          <a:bodyPr wrap="square">
            <a:spAutoFit/>
          </a:bodyPr>
          <a:lstStyle/>
          <a:p>
            <a:pPr marL="342900" indent="-342900" algn="l">
              <a:buAutoNum type="arabicPeriod"/>
            </a:pPr>
            <a:r>
              <a:rPr lang="nl-NL" sz="1600" dirty="0">
                <a:latin typeface="Söhne"/>
              </a:rPr>
              <a:t>Wanneer een foutmelding bovenaan de file komt betekend het dat het onderwerp in zijn geheel niet voorkomt (ontbrekende class). </a:t>
            </a:r>
          </a:p>
          <a:p>
            <a:pPr marL="342900" indent="-342900" algn="l">
              <a:buAutoNum type="arabicPeriod"/>
            </a:pPr>
            <a:r>
              <a:rPr lang="nl-NL" sz="1600" dirty="0">
                <a:latin typeface="Söhne"/>
              </a:rPr>
              <a:t>In dit voorbeeld is de classificatiecode. Als zowel de classificatiecode (property) en het </a:t>
            </a:r>
            <a:r>
              <a:rPr lang="nl-NL" sz="1600" dirty="0" err="1">
                <a:latin typeface="Söhne"/>
              </a:rPr>
              <a:t>decompositionlevel</a:t>
            </a:r>
            <a:r>
              <a:rPr lang="nl-NL" sz="1600" dirty="0">
                <a:latin typeface="Söhne"/>
              </a:rPr>
              <a:t> (property) ontbreken, komt deze bovenaan het PDF te staan. Als enkel het decompositielevel ontbreekt, zal deze bij </a:t>
            </a:r>
            <a:r>
              <a:rPr lang="nl-NL" sz="1600" dirty="0" err="1">
                <a:latin typeface="Söhne"/>
              </a:rPr>
              <a:t>constraint</a:t>
            </a:r>
            <a:r>
              <a:rPr lang="nl-NL" sz="1600" dirty="0">
                <a:latin typeface="Söhne"/>
              </a:rPr>
              <a:t> </a:t>
            </a:r>
            <a:r>
              <a:rPr lang="nl-NL" sz="1600" dirty="0" err="1">
                <a:latin typeface="Söhne"/>
              </a:rPr>
              <a:t>violations</a:t>
            </a:r>
            <a:r>
              <a:rPr lang="nl-NL" sz="1600" dirty="0">
                <a:latin typeface="Söhne"/>
              </a:rPr>
              <a:t> komen te staan</a:t>
            </a:r>
          </a:p>
        </p:txBody>
      </p:sp>
      <p:pic>
        <p:nvPicPr>
          <p:cNvPr id="5" name="Afbeelding 4">
            <a:extLst>
              <a:ext uri="{FF2B5EF4-FFF2-40B4-BE49-F238E27FC236}">
                <a16:creationId xmlns:a16="http://schemas.microsoft.com/office/drawing/2014/main" id="{28B81E75-CC6E-F46C-3DCE-0C36972B94C1}"/>
              </a:ext>
            </a:extLst>
          </p:cNvPr>
          <p:cNvPicPr>
            <a:picLocks noChangeAspect="1"/>
          </p:cNvPicPr>
          <p:nvPr/>
        </p:nvPicPr>
        <p:blipFill>
          <a:blip r:embed="rId3"/>
          <a:stretch>
            <a:fillRect/>
          </a:stretch>
        </p:blipFill>
        <p:spPr>
          <a:xfrm>
            <a:off x="1200090" y="2550953"/>
            <a:ext cx="5599298" cy="1488612"/>
          </a:xfrm>
          <a:prstGeom prst="rect">
            <a:avLst/>
          </a:prstGeom>
        </p:spPr>
      </p:pic>
      <p:pic>
        <p:nvPicPr>
          <p:cNvPr id="8" name="Afbeelding 7">
            <a:extLst>
              <a:ext uri="{FF2B5EF4-FFF2-40B4-BE49-F238E27FC236}">
                <a16:creationId xmlns:a16="http://schemas.microsoft.com/office/drawing/2014/main" id="{C9D5CA88-5F7C-ACEA-3B85-08079F4D22D5}"/>
              </a:ext>
            </a:extLst>
          </p:cNvPr>
          <p:cNvPicPr>
            <a:picLocks noChangeAspect="1"/>
          </p:cNvPicPr>
          <p:nvPr/>
        </p:nvPicPr>
        <p:blipFill>
          <a:blip r:embed="rId3"/>
          <a:stretch>
            <a:fillRect/>
          </a:stretch>
        </p:blipFill>
        <p:spPr>
          <a:xfrm>
            <a:off x="1200090" y="4082338"/>
            <a:ext cx="5599298" cy="1488612"/>
          </a:xfrm>
          <a:prstGeom prst="rect">
            <a:avLst/>
          </a:prstGeom>
        </p:spPr>
      </p:pic>
      <p:sp>
        <p:nvSpPr>
          <p:cNvPr id="9" name="Vermenigvuldigingsteken 8">
            <a:extLst>
              <a:ext uri="{FF2B5EF4-FFF2-40B4-BE49-F238E27FC236}">
                <a16:creationId xmlns:a16="http://schemas.microsoft.com/office/drawing/2014/main" id="{3840F3AF-C98C-7F54-FFBC-78079F832E78}"/>
              </a:ext>
            </a:extLst>
          </p:cNvPr>
          <p:cNvSpPr/>
          <p:nvPr/>
        </p:nvSpPr>
        <p:spPr>
          <a:xfrm>
            <a:off x="154082" y="2446864"/>
            <a:ext cx="5196257" cy="1872807"/>
          </a:xfrm>
          <a:prstGeom prst="mathMultiply">
            <a:avLst/>
          </a:pr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cxnSp>
        <p:nvCxnSpPr>
          <p:cNvPr id="12" name="Rechte verbindingslijn 11">
            <a:extLst>
              <a:ext uri="{FF2B5EF4-FFF2-40B4-BE49-F238E27FC236}">
                <a16:creationId xmlns:a16="http://schemas.microsoft.com/office/drawing/2014/main" id="{3A2EE3B1-DFF6-213B-F4EE-14469A3782B7}"/>
              </a:ext>
            </a:extLst>
          </p:cNvPr>
          <p:cNvCxnSpPr/>
          <p:nvPr/>
        </p:nvCxnSpPr>
        <p:spPr>
          <a:xfrm>
            <a:off x="1575726" y="5201876"/>
            <a:ext cx="3275636" cy="0"/>
          </a:xfrm>
          <a:prstGeom prst="line">
            <a:avLst/>
          </a:prstGeom>
          <a:ln w="19050"/>
        </p:spPr>
        <p:style>
          <a:lnRef idx="1">
            <a:schemeClr val="accent2"/>
          </a:lnRef>
          <a:fillRef idx="0">
            <a:schemeClr val="accent2"/>
          </a:fillRef>
          <a:effectRef idx="0">
            <a:schemeClr val="accent2"/>
          </a:effectRef>
          <a:fontRef idx="minor">
            <a:schemeClr val="tx1"/>
          </a:fontRef>
        </p:style>
      </p:cxnSp>
      <p:pic>
        <p:nvPicPr>
          <p:cNvPr id="6" name="Afbeelding 5">
            <a:extLst>
              <a:ext uri="{FF2B5EF4-FFF2-40B4-BE49-F238E27FC236}">
                <a16:creationId xmlns:a16="http://schemas.microsoft.com/office/drawing/2014/main" id="{5E0E3619-D044-EB57-E6EB-4301F9C71325}"/>
              </a:ext>
            </a:extLst>
          </p:cNvPr>
          <p:cNvPicPr>
            <a:picLocks noChangeAspect="1"/>
          </p:cNvPicPr>
          <p:nvPr/>
        </p:nvPicPr>
        <p:blipFill>
          <a:blip r:embed="rId4"/>
          <a:stretch>
            <a:fillRect/>
          </a:stretch>
        </p:blipFill>
        <p:spPr>
          <a:xfrm>
            <a:off x="7845396" y="2367488"/>
            <a:ext cx="2646785" cy="3196118"/>
          </a:xfrm>
          <a:prstGeom prst="rect">
            <a:avLst/>
          </a:prstGeom>
        </p:spPr>
      </p:pic>
      <p:cxnSp>
        <p:nvCxnSpPr>
          <p:cNvPr id="11" name="Rechte verbindingslijn met pijl 10">
            <a:extLst>
              <a:ext uri="{FF2B5EF4-FFF2-40B4-BE49-F238E27FC236}">
                <a16:creationId xmlns:a16="http://schemas.microsoft.com/office/drawing/2014/main" id="{8565560C-BF0F-4507-E567-3FE1C014D418}"/>
              </a:ext>
            </a:extLst>
          </p:cNvPr>
          <p:cNvCxnSpPr>
            <a:cxnSpLocks/>
          </p:cNvCxnSpPr>
          <p:nvPr/>
        </p:nvCxnSpPr>
        <p:spPr>
          <a:xfrm>
            <a:off x="6948926" y="3638939"/>
            <a:ext cx="8964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Rechte verbindingslijn met pijl 14">
            <a:extLst>
              <a:ext uri="{FF2B5EF4-FFF2-40B4-BE49-F238E27FC236}">
                <a16:creationId xmlns:a16="http://schemas.microsoft.com/office/drawing/2014/main" id="{7B4921CC-43AF-239C-C8AB-190C36D16232}"/>
              </a:ext>
            </a:extLst>
          </p:cNvPr>
          <p:cNvCxnSpPr>
            <a:cxnSpLocks/>
          </p:cNvCxnSpPr>
          <p:nvPr/>
        </p:nvCxnSpPr>
        <p:spPr>
          <a:xfrm flipV="1">
            <a:off x="6948926" y="4319671"/>
            <a:ext cx="972764" cy="152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53267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Het uitlezen van het validatierapp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4" name="Afbeelding 3">
            <a:extLst>
              <a:ext uri="{FF2B5EF4-FFF2-40B4-BE49-F238E27FC236}">
                <a16:creationId xmlns:a16="http://schemas.microsoft.com/office/drawing/2014/main" id="{F0D0EF72-6522-4E42-8455-186AA48210A6}"/>
              </a:ext>
            </a:extLst>
          </p:cNvPr>
          <p:cNvPicPr>
            <a:picLocks noChangeAspect="1"/>
          </p:cNvPicPr>
          <p:nvPr/>
        </p:nvPicPr>
        <p:blipFill>
          <a:blip r:embed="rId3"/>
          <a:stretch>
            <a:fillRect/>
          </a:stretch>
        </p:blipFill>
        <p:spPr>
          <a:xfrm>
            <a:off x="635161" y="1292988"/>
            <a:ext cx="6677880" cy="4417674"/>
          </a:xfrm>
          <a:prstGeom prst="rect">
            <a:avLst/>
          </a:prstGeom>
        </p:spPr>
      </p:pic>
      <p:sp>
        <p:nvSpPr>
          <p:cNvPr id="6" name="Rechthoek 5">
            <a:extLst>
              <a:ext uri="{FF2B5EF4-FFF2-40B4-BE49-F238E27FC236}">
                <a16:creationId xmlns:a16="http://schemas.microsoft.com/office/drawing/2014/main" id="{5CA7B7F6-9D7A-79D5-A790-A36EC9C3ABC3}"/>
              </a:ext>
            </a:extLst>
          </p:cNvPr>
          <p:cNvSpPr/>
          <p:nvPr/>
        </p:nvSpPr>
        <p:spPr>
          <a:xfrm>
            <a:off x="4595149" y="5324354"/>
            <a:ext cx="1851950" cy="13889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a:p>
        </p:txBody>
      </p:sp>
      <p:sp>
        <p:nvSpPr>
          <p:cNvPr id="10" name="Rechthoek 9">
            <a:extLst>
              <a:ext uri="{FF2B5EF4-FFF2-40B4-BE49-F238E27FC236}">
                <a16:creationId xmlns:a16="http://schemas.microsoft.com/office/drawing/2014/main" id="{7C656FFF-65B9-C1B8-ED1F-A7D7992E6A56}"/>
              </a:ext>
            </a:extLst>
          </p:cNvPr>
          <p:cNvSpPr/>
          <p:nvPr/>
        </p:nvSpPr>
        <p:spPr>
          <a:xfrm>
            <a:off x="1055687" y="5463251"/>
            <a:ext cx="2208374" cy="13889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a:p>
        </p:txBody>
      </p:sp>
      <p:cxnSp>
        <p:nvCxnSpPr>
          <p:cNvPr id="15" name="Rechte verbindingslijn met pijl 14">
            <a:extLst>
              <a:ext uri="{FF2B5EF4-FFF2-40B4-BE49-F238E27FC236}">
                <a16:creationId xmlns:a16="http://schemas.microsoft.com/office/drawing/2014/main" id="{403B2671-E762-FD8C-1DE8-B54E89BC8E92}"/>
              </a:ext>
            </a:extLst>
          </p:cNvPr>
          <p:cNvCxnSpPr/>
          <p:nvPr/>
        </p:nvCxnSpPr>
        <p:spPr>
          <a:xfrm>
            <a:off x="7002684" y="2407534"/>
            <a:ext cx="1805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Rechte verbindingslijn met pijl 15">
            <a:extLst>
              <a:ext uri="{FF2B5EF4-FFF2-40B4-BE49-F238E27FC236}">
                <a16:creationId xmlns:a16="http://schemas.microsoft.com/office/drawing/2014/main" id="{667F625A-C994-B04C-8922-703B609ED9C8}"/>
              </a:ext>
            </a:extLst>
          </p:cNvPr>
          <p:cNvCxnSpPr/>
          <p:nvPr/>
        </p:nvCxnSpPr>
        <p:spPr>
          <a:xfrm>
            <a:off x="6611074" y="5442031"/>
            <a:ext cx="1805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kstvak 16">
            <a:extLst>
              <a:ext uri="{FF2B5EF4-FFF2-40B4-BE49-F238E27FC236}">
                <a16:creationId xmlns:a16="http://schemas.microsoft.com/office/drawing/2014/main" id="{90835E28-2F73-5405-7011-F118791CE24B}"/>
              </a:ext>
            </a:extLst>
          </p:cNvPr>
          <p:cNvSpPr txBox="1"/>
          <p:nvPr/>
        </p:nvSpPr>
        <p:spPr>
          <a:xfrm>
            <a:off x="7002684" y="2159907"/>
            <a:ext cx="1656617" cy="246221"/>
          </a:xfrm>
          <a:prstGeom prst="rect">
            <a:avLst/>
          </a:prstGeom>
          <a:noFill/>
        </p:spPr>
        <p:txBody>
          <a:bodyPr wrap="square" rtlCol="0">
            <a:spAutoFit/>
          </a:bodyPr>
          <a:lstStyle/>
          <a:p>
            <a:r>
              <a:rPr lang="nl-NL" sz="1000" dirty="0"/>
              <a:t>Ontbreekt in totaliteit </a:t>
            </a:r>
          </a:p>
        </p:txBody>
      </p:sp>
      <p:sp>
        <p:nvSpPr>
          <p:cNvPr id="18" name="Tekstvak 17">
            <a:extLst>
              <a:ext uri="{FF2B5EF4-FFF2-40B4-BE49-F238E27FC236}">
                <a16:creationId xmlns:a16="http://schemas.microsoft.com/office/drawing/2014/main" id="{19F6B2BB-16C2-0EE6-FEA5-67E50A58FF9D}"/>
              </a:ext>
            </a:extLst>
          </p:cNvPr>
          <p:cNvSpPr txBox="1"/>
          <p:nvPr/>
        </p:nvSpPr>
        <p:spPr>
          <a:xfrm>
            <a:off x="6618240" y="5138094"/>
            <a:ext cx="1127772" cy="261610"/>
          </a:xfrm>
          <a:prstGeom prst="rect">
            <a:avLst/>
          </a:prstGeom>
          <a:noFill/>
        </p:spPr>
        <p:txBody>
          <a:bodyPr wrap="square" rtlCol="0">
            <a:spAutoFit/>
          </a:bodyPr>
          <a:lstStyle/>
          <a:p>
            <a:r>
              <a:rPr lang="nl-NL" sz="1100" dirty="0"/>
              <a:t>De foutmelding </a:t>
            </a:r>
          </a:p>
        </p:txBody>
      </p:sp>
      <p:sp>
        <p:nvSpPr>
          <p:cNvPr id="19" name="Tekstvak 18">
            <a:extLst>
              <a:ext uri="{FF2B5EF4-FFF2-40B4-BE49-F238E27FC236}">
                <a16:creationId xmlns:a16="http://schemas.microsoft.com/office/drawing/2014/main" id="{CFAAC475-4B62-0FF7-A0F2-B7EC9802B226}"/>
              </a:ext>
            </a:extLst>
          </p:cNvPr>
          <p:cNvSpPr txBox="1"/>
          <p:nvPr/>
        </p:nvSpPr>
        <p:spPr>
          <a:xfrm>
            <a:off x="8835367" y="2159907"/>
            <a:ext cx="2253161" cy="553998"/>
          </a:xfrm>
          <a:prstGeom prst="rect">
            <a:avLst/>
          </a:prstGeom>
          <a:noFill/>
        </p:spPr>
        <p:txBody>
          <a:bodyPr wrap="square" rtlCol="0">
            <a:spAutoFit/>
          </a:bodyPr>
          <a:lstStyle/>
          <a:p>
            <a:r>
              <a:rPr lang="nl-NL" sz="1000" dirty="0"/>
              <a:t>Bijv. geen informatie beschikbaar over de </a:t>
            </a:r>
            <a:r>
              <a:rPr lang="nl-NL" sz="1000" dirty="0" err="1"/>
              <a:t>origin</a:t>
            </a:r>
            <a:r>
              <a:rPr lang="nl-NL" sz="1000" dirty="0"/>
              <a:t> van de elementen in file </a:t>
            </a:r>
            <a:r>
              <a:rPr lang="nl-NL" sz="1000" dirty="0" err="1"/>
              <a:t>transformatiegebouw_altered</a:t>
            </a:r>
            <a:endParaRPr lang="nl-NL" sz="1000" dirty="0"/>
          </a:p>
        </p:txBody>
      </p:sp>
      <p:sp>
        <p:nvSpPr>
          <p:cNvPr id="20" name="Tekstvak 19">
            <a:extLst>
              <a:ext uri="{FF2B5EF4-FFF2-40B4-BE49-F238E27FC236}">
                <a16:creationId xmlns:a16="http://schemas.microsoft.com/office/drawing/2014/main" id="{3A0C3F1E-2F5A-33F9-FFBB-09FFC74E6445}"/>
              </a:ext>
            </a:extLst>
          </p:cNvPr>
          <p:cNvSpPr txBox="1"/>
          <p:nvPr/>
        </p:nvSpPr>
        <p:spPr>
          <a:xfrm>
            <a:off x="8416724" y="5138094"/>
            <a:ext cx="2253161" cy="861774"/>
          </a:xfrm>
          <a:prstGeom prst="rect">
            <a:avLst/>
          </a:prstGeom>
          <a:noFill/>
        </p:spPr>
        <p:txBody>
          <a:bodyPr wrap="square" rtlCol="0">
            <a:spAutoFit/>
          </a:bodyPr>
          <a:lstStyle/>
          <a:p>
            <a:r>
              <a:rPr lang="nl-NL" sz="1000" dirty="0"/>
              <a:t>Binnen file </a:t>
            </a:r>
            <a:r>
              <a:rPr lang="nl-NL" sz="1000" dirty="0" err="1"/>
              <a:t>transformatiegebouw_altered</a:t>
            </a:r>
            <a:r>
              <a:rPr lang="nl-NL" sz="1000" dirty="0"/>
              <a:t> ontbreekt informatie over </a:t>
            </a:r>
            <a:r>
              <a:rPr lang="nl-NL" sz="1000" dirty="0" err="1"/>
              <a:t>ProjectAddress</a:t>
            </a:r>
            <a:r>
              <a:rPr lang="nl-NL" sz="1000" dirty="0"/>
              <a:t> bij </a:t>
            </a:r>
            <a:r>
              <a:rPr lang="nl-NL" sz="1000" dirty="0" err="1"/>
              <a:t>instance</a:t>
            </a:r>
            <a:r>
              <a:rPr lang="nl-NL" sz="1000" dirty="0"/>
              <a:t> (onderwerp/object) building_109</a:t>
            </a:r>
          </a:p>
        </p:txBody>
      </p:sp>
    </p:spTree>
    <p:extLst>
      <p:ext uri="{BB962C8B-B14F-4D97-AF65-F5344CB8AC3E}">
        <p14:creationId xmlns:p14="http://schemas.microsoft.com/office/powerpoint/2010/main" val="2388035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chterliggende stapp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576318"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e rap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Het model van het gebouw/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ophalen</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controleren</a:t>
            </a:r>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controle (SHACL) over de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apport met ontbrekende/fout ingevulde onderdelen</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Ontologie</a:t>
            </a:r>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Vormgeving</a:t>
            </a:r>
          </a:p>
        </p:txBody>
      </p:sp>
    </p:spTree>
    <p:extLst>
      <p:ext uri="{BB962C8B-B14F-4D97-AF65-F5344CB8AC3E}">
        <p14:creationId xmlns:p14="http://schemas.microsoft.com/office/powerpoint/2010/main" val="3516489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en foutmelding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7" name="Afbeelding 6">
            <a:extLst>
              <a:ext uri="{FF2B5EF4-FFF2-40B4-BE49-F238E27FC236}">
                <a16:creationId xmlns:a16="http://schemas.microsoft.com/office/drawing/2014/main" id="{9EF494EF-9213-A0BD-BF31-E67B4E88BD0F}"/>
              </a:ext>
            </a:extLst>
          </p:cNvPr>
          <p:cNvPicPr>
            <a:picLocks noChangeAspect="1"/>
          </p:cNvPicPr>
          <p:nvPr/>
        </p:nvPicPr>
        <p:blipFill>
          <a:blip r:embed="rId3"/>
          <a:stretch>
            <a:fillRect/>
          </a:stretch>
        </p:blipFill>
        <p:spPr>
          <a:xfrm>
            <a:off x="3105187" y="1385584"/>
            <a:ext cx="5660187" cy="4413331"/>
          </a:xfrm>
          <a:prstGeom prst="rect">
            <a:avLst/>
          </a:prstGeom>
        </p:spPr>
      </p:pic>
      <p:sp>
        <p:nvSpPr>
          <p:cNvPr id="4" name="Tekstvak 3">
            <a:extLst>
              <a:ext uri="{FF2B5EF4-FFF2-40B4-BE49-F238E27FC236}">
                <a16:creationId xmlns:a16="http://schemas.microsoft.com/office/drawing/2014/main" id="{FAF63E35-476B-7E52-1BB2-7BD007611542}"/>
              </a:ext>
            </a:extLst>
          </p:cNvPr>
          <p:cNvSpPr txBox="1"/>
          <p:nvPr/>
        </p:nvSpPr>
        <p:spPr>
          <a:xfrm>
            <a:off x="8835367" y="2159907"/>
            <a:ext cx="2253161" cy="861774"/>
          </a:xfrm>
          <a:prstGeom prst="rect">
            <a:avLst/>
          </a:prstGeom>
          <a:noFill/>
        </p:spPr>
        <p:txBody>
          <a:bodyPr wrap="square" rtlCol="0">
            <a:spAutoFit/>
          </a:bodyPr>
          <a:lstStyle/>
          <a:p>
            <a:r>
              <a:rPr lang="nl-NL" sz="1000" dirty="0"/>
              <a:t>Deze vier foutmeldingen horen bij verkeerd ingevulde data in het RDF document. Op volgende dia is te zien hoe deze verkeerd zijn ingevuld en hoe deze ingevuld horen te zijn</a:t>
            </a:r>
          </a:p>
        </p:txBody>
      </p:sp>
    </p:spTree>
    <p:extLst>
      <p:ext uri="{BB962C8B-B14F-4D97-AF65-F5344CB8AC3E}">
        <p14:creationId xmlns:p14="http://schemas.microsoft.com/office/powerpoint/2010/main" val="3939267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en foutmelding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5" name="Afbeelding 4">
            <a:extLst>
              <a:ext uri="{FF2B5EF4-FFF2-40B4-BE49-F238E27FC236}">
                <a16:creationId xmlns:a16="http://schemas.microsoft.com/office/drawing/2014/main" id="{24642BB2-A5DE-448F-621A-26CAB58B8E4D}"/>
              </a:ext>
            </a:extLst>
          </p:cNvPr>
          <p:cNvPicPr>
            <a:picLocks noChangeAspect="1"/>
          </p:cNvPicPr>
          <p:nvPr/>
        </p:nvPicPr>
        <p:blipFill>
          <a:blip r:embed="rId3"/>
          <a:stretch>
            <a:fillRect/>
          </a:stretch>
        </p:blipFill>
        <p:spPr>
          <a:xfrm>
            <a:off x="1112483" y="2500303"/>
            <a:ext cx="7535327" cy="952633"/>
          </a:xfrm>
          <a:prstGeom prst="rect">
            <a:avLst/>
          </a:prstGeom>
        </p:spPr>
      </p:pic>
      <p:pic>
        <p:nvPicPr>
          <p:cNvPr id="8" name="Afbeelding 7">
            <a:extLst>
              <a:ext uri="{FF2B5EF4-FFF2-40B4-BE49-F238E27FC236}">
                <a16:creationId xmlns:a16="http://schemas.microsoft.com/office/drawing/2014/main" id="{F740C7ED-F733-1B61-DF9E-EE8830787003}"/>
              </a:ext>
            </a:extLst>
          </p:cNvPr>
          <p:cNvPicPr>
            <a:picLocks noChangeAspect="1"/>
          </p:cNvPicPr>
          <p:nvPr/>
        </p:nvPicPr>
        <p:blipFill>
          <a:blip r:embed="rId4"/>
          <a:stretch>
            <a:fillRect/>
          </a:stretch>
        </p:blipFill>
        <p:spPr>
          <a:xfrm>
            <a:off x="1112483" y="3929955"/>
            <a:ext cx="7535326" cy="885850"/>
          </a:xfrm>
          <a:prstGeom prst="rect">
            <a:avLst/>
          </a:prstGeom>
        </p:spPr>
      </p:pic>
      <p:sp>
        <p:nvSpPr>
          <p:cNvPr id="9" name="Tekstvak 8">
            <a:extLst>
              <a:ext uri="{FF2B5EF4-FFF2-40B4-BE49-F238E27FC236}">
                <a16:creationId xmlns:a16="http://schemas.microsoft.com/office/drawing/2014/main" id="{6FCC7BEE-A0C3-03EE-CF60-2EEDF06981E6}"/>
              </a:ext>
            </a:extLst>
          </p:cNvPr>
          <p:cNvSpPr txBox="1"/>
          <p:nvPr/>
        </p:nvSpPr>
        <p:spPr>
          <a:xfrm>
            <a:off x="8826354" y="2853508"/>
            <a:ext cx="2253161" cy="246221"/>
          </a:xfrm>
          <a:prstGeom prst="rect">
            <a:avLst/>
          </a:prstGeom>
          <a:noFill/>
        </p:spPr>
        <p:txBody>
          <a:bodyPr wrap="square" rtlCol="0">
            <a:spAutoFit/>
          </a:bodyPr>
          <a:lstStyle/>
          <a:p>
            <a:r>
              <a:rPr lang="nl-NL" sz="1000" dirty="0"/>
              <a:t>De foutieve data</a:t>
            </a:r>
          </a:p>
        </p:txBody>
      </p:sp>
      <p:sp>
        <p:nvSpPr>
          <p:cNvPr id="10" name="Tekstvak 9">
            <a:extLst>
              <a:ext uri="{FF2B5EF4-FFF2-40B4-BE49-F238E27FC236}">
                <a16:creationId xmlns:a16="http://schemas.microsoft.com/office/drawing/2014/main" id="{A32E7D43-09F8-59AB-808A-616E0A44945A}"/>
              </a:ext>
            </a:extLst>
          </p:cNvPr>
          <p:cNvSpPr txBox="1"/>
          <p:nvPr/>
        </p:nvSpPr>
        <p:spPr>
          <a:xfrm>
            <a:off x="8826355" y="4242195"/>
            <a:ext cx="2253161" cy="246221"/>
          </a:xfrm>
          <a:prstGeom prst="rect">
            <a:avLst/>
          </a:prstGeom>
          <a:noFill/>
        </p:spPr>
        <p:txBody>
          <a:bodyPr wrap="square" rtlCol="0">
            <a:spAutoFit/>
          </a:bodyPr>
          <a:lstStyle/>
          <a:p>
            <a:r>
              <a:rPr lang="nl-NL" sz="1000" dirty="0"/>
              <a:t>De juist ingevulde data</a:t>
            </a:r>
          </a:p>
        </p:txBody>
      </p:sp>
      <p:sp>
        <p:nvSpPr>
          <p:cNvPr id="12" name="Tekstvak 11">
            <a:extLst>
              <a:ext uri="{FF2B5EF4-FFF2-40B4-BE49-F238E27FC236}">
                <a16:creationId xmlns:a16="http://schemas.microsoft.com/office/drawing/2014/main" id="{2D9E843E-7061-D8B3-730B-EEF74193C2FA}"/>
              </a:ext>
            </a:extLst>
          </p:cNvPr>
          <p:cNvSpPr txBox="1"/>
          <p:nvPr/>
        </p:nvSpPr>
        <p:spPr>
          <a:xfrm>
            <a:off x="772888" y="1384631"/>
            <a:ext cx="10472284" cy="584775"/>
          </a:xfrm>
          <a:prstGeom prst="rect">
            <a:avLst/>
          </a:prstGeom>
          <a:noFill/>
          <a:ln>
            <a:noFill/>
          </a:ln>
        </p:spPr>
        <p:txBody>
          <a:bodyPr wrap="square">
            <a:spAutoFit/>
          </a:bodyPr>
          <a:lstStyle/>
          <a:p>
            <a:pPr marL="342900" indent="-342900" algn="l">
              <a:buAutoNum type="arabicPeriod"/>
            </a:pPr>
            <a:r>
              <a:rPr lang="nl-NL" sz="1600" dirty="0">
                <a:latin typeface="Söhne"/>
              </a:rPr>
              <a:t>In het voorbeeld hieronder ontbreekt de data voor </a:t>
            </a:r>
            <a:r>
              <a:rPr lang="nl-NL" sz="1600" dirty="0" err="1">
                <a:latin typeface="Söhne"/>
              </a:rPr>
              <a:t>angle</a:t>
            </a:r>
            <a:r>
              <a:rPr lang="nl-NL" sz="1600" dirty="0">
                <a:latin typeface="Söhne"/>
              </a:rPr>
              <a:t> + is warranty ‘onzichtbaar’ (opgenomen als notitie d.m.v. #) dus niet aanwezig + is </a:t>
            </a:r>
            <a:r>
              <a:rPr lang="nl-NL" sz="1600" dirty="0" err="1">
                <a:latin typeface="Söhne"/>
              </a:rPr>
              <a:t>servicelife</a:t>
            </a:r>
            <a:r>
              <a:rPr lang="nl-NL" sz="1600" dirty="0">
                <a:latin typeface="Söhne"/>
              </a:rPr>
              <a:t> een integer maar ingevuld met een decimaal. </a:t>
            </a:r>
          </a:p>
        </p:txBody>
      </p:sp>
      <p:sp>
        <p:nvSpPr>
          <p:cNvPr id="4" name="Tekstvak 3">
            <a:extLst>
              <a:ext uri="{FF2B5EF4-FFF2-40B4-BE49-F238E27FC236}">
                <a16:creationId xmlns:a16="http://schemas.microsoft.com/office/drawing/2014/main" id="{71FA9C9A-5CE8-9C39-A904-4BE1B98706A4}"/>
              </a:ext>
            </a:extLst>
          </p:cNvPr>
          <p:cNvSpPr txBox="1"/>
          <p:nvPr/>
        </p:nvSpPr>
        <p:spPr>
          <a:xfrm>
            <a:off x="772888" y="5104092"/>
            <a:ext cx="10472284" cy="584775"/>
          </a:xfrm>
          <a:prstGeom prst="rect">
            <a:avLst/>
          </a:prstGeom>
          <a:noFill/>
          <a:ln>
            <a:noFill/>
          </a:ln>
        </p:spPr>
        <p:txBody>
          <a:bodyPr wrap="square">
            <a:spAutoFit/>
          </a:bodyPr>
          <a:lstStyle/>
          <a:p>
            <a:pPr algn="l"/>
            <a:r>
              <a:rPr lang="nl-NL" sz="1600" dirty="0">
                <a:latin typeface="Söhne"/>
              </a:rPr>
              <a:t>Deze fouten kunnen vervolgens aangepast worden in de bron (bijvoorbeeld het BIM model als hierin de informatie niet is toegevoegd). </a:t>
            </a:r>
          </a:p>
        </p:txBody>
      </p:sp>
    </p:spTree>
    <p:extLst>
      <p:ext uri="{BB962C8B-B14F-4D97-AF65-F5344CB8AC3E}">
        <p14:creationId xmlns:p14="http://schemas.microsoft.com/office/powerpoint/2010/main" val="1789795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5B51F4-E25B-CF13-D736-34DAB1251F1B}"/>
              </a:ext>
            </a:extLst>
          </p:cNvPr>
          <p:cNvSpPr>
            <a:spLocks noGrp="1"/>
          </p:cNvSpPr>
          <p:nvPr>
            <p:ph type="title"/>
          </p:nvPr>
        </p:nvSpPr>
        <p:spPr/>
        <p:txBody>
          <a:bodyPr/>
          <a:lstStyle/>
          <a:p>
            <a:r>
              <a:rPr lang="nl-NL" dirty="0"/>
              <a:t>Voorbeelden foutmeldingen</a:t>
            </a:r>
          </a:p>
        </p:txBody>
      </p:sp>
      <p:sp>
        <p:nvSpPr>
          <p:cNvPr id="3" name="Tijdelijke aanduiding voor tekst 2">
            <a:extLst>
              <a:ext uri="{FF2B5EF4-FFF2-40B4-BE49-F238E27FC236}">
                <a16:creationId xmlns:a16="http://schemas.microsoft.com/office/drawing/2014/main" id="{85D56D13-19BA-8733-E163-76945536D05D}"/>
              </a:ext>
            </a:extLst>
          </p:cNvPr>
          <p:cNvSpPr>
            <a:spLocks noGrp="1"/>
          </p:cNvSpPr>
          <p:nvPr>
            <p:ph type="body" sz="quarter" idx="10"/>
          </p:nvPr>
        </p:nvSpPr>
        <p:spPr/>
        <p:txBody>
          <a:bodyPr/>
          <a:lstStyle/>
          <a:p>
            <a:r>
              <a:rPr lang="nl-NL" dirty="0"/>
              <a:t>Probeer vooral zelf de tool uit met de </a:t>
            </a:r>
            <a:r>
              <a:rPr lang="nl-NL" dirty="0" err="1"/>
              <a:t>testfileX</a:t>
            </a:r>
            <a:r>
              <a:rPr lang="nl-NL" dirty="0"/>
              <a:t>. Maak hier wat fouten in, zoals het veranderen van datatype, het onzichtbaar maken van informatie (# ervoor zetten), etc.</a:t>
            </a:r>
          </a:p>
          <a:p>
            <a:r>
              <a:rPr lang="nl-NL" dirty="0"/>
              <a:t>De onderdelen die door de validatietool gecontroleerd worden, zijn te herkennen aan de # achter de regels. Wanneer je aanpassingen maakt binnen deze onderdelen, zie je dit terug in het validatierapport (gebouw, en element niveau).</a:t>
            </a:r>
          </a:p>
          <a:p>
            <a:r>
              <a:rPr lang="nl-NL" dirty="0"/>
              <a:t>Om de testfile uit te breiden, kunnen de product en materialenfile gekoppeld worden. Hiervoor hoeven enkel de namen van de files toegevoegd te worden in de python code. Zo kun je ook hiermee uit proberen. De files heten: DPP productlevel Rijwoning en DPP materiaallevel Rijwoning.</a:t>
            </a:r>
          </a:p>
        </p:txBody>
      </p:sp>
      <p:sp>
        <p:nvSpPr>
          <p:cNvPr id="4" name="Tijdelijke aanduiding voor inhoud 3">
            <a:extLst>
              <a:ext uri="{FF2B5EF4-FFF2-40B4-BE49-F238E27FC236}">
                <a16:creationId xmlns:a16="http://schemas.microsoft.com/office/drawing/2014/main" id="{B1B964A8-0241-8593-CA71-6F221E2857D5}"/>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ABEB3DD9-50DF-E139-1E10-2DDD948BDEE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Tree>
    <p:extLst>
      <p:ext uri="{BB962C8B-B14F-4D97-AF65-F5344CB8AC3E}">
        <p14:creationId xmlns:p14="http://schemas.microsoft.com/office/powerpoint/2010/main" val="2572287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8D5681-C545-CEED-C71A-0ED0B95232D2}"/>
              </a:ext>
            </a:extLst>
          </p:cNvPr>
          <p:cNvSpPr>
            <a:spLocks noGrp="1"/>
          </p:cNvSpPr>
          <p:nvPr>
            <p:ph type="title"/>
          </p:nvPr>
        </p:nvSpPr>
        <p:spPr/>
        <p:txBody>
          <a:bodyPr/>
          <a:lstStyle/>
          <a:p>
            <a:r>
              <a:rPr lang="nl-NL" dirty="0"/>
              <a:t>Let op! </a:t>
            </a:r>
          </a:p>
        </p:txBody>
      </p:sp>
      <p:sp>
        <p:nvSpPr>
          <p:cNvPr id="3" name="Tijdelijke aanduiding voor tekst 2">
            <a:extLst>
              <a:ext uri="{FF2B5EF4-FFF2-40B4-BE49-F238E27FC236}">
                <a16:creationId xmlns:a16="http://schemas.microsoft.com/office/drawing/2014/main" id="{48031A04-7CFD-6462-836A-49F9BC1DE150}"/>
              </a:ext>
            </a:extLst>
          </p:cNvPr>
          <p:cNvSpPr>
            <a:spLocks noGrp="1"/>
          </p:cNvSpPr>
          <p:nvPr>
            <p:ph type="body" sz="quarter" idx="10"/>
          </p:nvPr>
        </p:nvSpPr>
        <p:spPr/>
        <p:txBody>
          <a:bodyPr/>
          <a:lstStyle/>
          <a:p>
            <a:r>
              <a:rPr lang="nl-NL" dirty="0"/>
              <a:t>De volgende dia’s zullen een uitleg geven over het maken van query’s. Dit staat los van het validatieproces.</a:t>
            </a:r>
          </a:p>
          <a:p>
            <a:r>
              <a:rPr lang="nl-NL" dirty="0"/>
              <a:t>Dit principe kan gebruikt worden wanneer je datafiles ontvangt en bepaalde informatie wilt zien. </a:t>
            </a:r>
          </a:p>
          <a:p>
            <a:r>
              <a:rPr lang="nl-NL" dirty="0"/>
              <a:t>Bijvoorbeeld: je wilt weten hoelang de levensduur is van je muren. Dan kan deze informatie ‘</a:t>
            </a:r>
            <a:r>
              <a:rPr lang="nl-NL" dirty="0" err="1"/>
              <a:t>gequeryed</a:t>
            </a:r>
            <a:r>
              <a:rPr lang="nl-NL" dirty="0"/>
              <a:t>’ worden (mits deze informatie beschikbaar/toegevoegd is in de datafile).</a:t>
            </a:r>
          </a:p>
        </p:txBody>
      </p:sp>
      <p:sp>
        <p:nvSpPr>
          <p:cNvPr id="4" name="Tijdelijke aanduiding voor inhoud 3">
            <a:extLst>
              <a:ext uri="{FF2B5EF4-FFF2-40B4-BE49-F238E27FC236}">
                <a16:creationId xmlns:a16="http://schemas.microsoft.com/office/drawing/2014/main" id="{4C08D1BB-FE5B-F575-5E12-A2A6D29A6FC4}"/>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57A15044-9EAA-BB8D-90F6-5F29976D226D}"/>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25053077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5E32CE-4B32-D1B7-BF76-C56B374D4AFA}"/>
              </a:ext>
            </a:extLst>
          </p:cNvPr>
          <p:cNvSpPr>
            <a:spLocks noGrp="1"/>
          </p:cNvSpPr>
          <p:nvPr>
            <p:ph type="title"/>
          </p:nvPr>
        </p:nvSpPr>
        <p:spPr/>
        <p:txBody>
          <a:bodyPr/>
          <a:lstStyle/>
          <a:p>
            <a:r>
              <a:rPr lang="nl-NL" dirty="0"/>
              <a:t>Download </a:t>
            </a:r>
            <a:r>
              <a:rPr lang="nl-NL" dirty="0" err="1"/>
              <a:t>GraphDB</a:t>
            </a:r>
            <a:endParaRPr lang="nl-NL" dirty="0"/>
          </a:p>
        </p:txBody>
      </p:sp>
      <p:sp>
        <p:nvSpPr>
          <p:cNvPr id="3" name="Tijdelijke aanduiding voor tekst 2">
            <a:extLst>
              <a:ext uri="{FF2B5EF4-FFF2-40B4-BE49-F238E27FC236}">
                <a16:creationId xmlns:a16="http://schemas.microsoft.com/office/drawing/2014/main" id="{B3760A30-47C6-BEE2-F689-6C6287D11AE1}"/>
              </a:ext>
            </a:extLst>
          </p:cNvPr>
          <p:cNvSpPr>
            <a:spLocks noGrp="1"/>
          </p:cNvSpPr>
          <p:nvPr>
            <p:ph type="body" sz="quarter" idx="10"/>
          </p:nvPr>
        </p:nvSpPr>
        <p:spPr/>
        <p:txBody>
          <a:bodyPr/>
          <a:lstStyle/>
          <a:p>
            <a:r>
              <a:rPr lang="nl-NL" dirty="0"/>
              <a:t>Download </a:t>
            </a:r>
            <a:r>
              <a:rPr lang="nl-NL" dirty="0" err="1"/>
              <a:t>GraphDB</a:t>
            </a:r>
            <a:endParaRPr lang="nl-NL" dirty="0"/>
          </a:p>
          <a:p>
            <a:endParaRPr lang="nl-NL" dirty="0"/>
          </a:p>
          <a:p>
            <a:endParaRPr lang="nl-NL" dirty="0"/>
          </a:p>
          <a:p>
            <a:endParaRPr lang="nl-NL" dirty="0"/>
          </a:p>
          <a:p>
            <a:endParaRPr lang="nl-NL" dirty="0"/>
          </a:p>
          <a:p>
            <a:r>
              <a:rPr lang="nl-NL" dirty="0"/>
              <a:t>In </a:t>
            </a:r>
            <a:r>
              <a:rPr lang="nl-NL" dirty="0" err="1"/>
              <a:t>GraphDB</a:t>
            </a:r>
            <a:r>
              <a:rPr lang="nl-NL" dirty="0"/>
              <a:t> zijn </a:t>
            </a:r>
            <a:r>
              <a:rPr lang="nl-NL" dirty="0" err="1"/>
              <a:t>tutorials</a:t>
            </a:r>
            <a:r>
              <a:rPr lang="nl-NL" dirty="0"/>
              <a:t> beschikbaar (o.a. star wars tutorial).</a:t>
            </a:r>
          </a:p>
          <a:p>
            <a:r>
              <a:rPr lang="nl-NL" dirty="0"/>
              <a:t>Volg deze tutorial. Deze legt goed uit welke stappen er genomen dienen te worden</a:t>
            </a:r>
          </a:p>
          <a:p>
            <a:r>
              <a:rPr lang="nl-NL" dirty="0"/>
              <a:t>Na het volgen van de tutorial kun je de </a:t>
            </a:r>
            <a:r>
              <a:rPr lang="nl-NL" dirty="0" err="1"/>
              <a:t>TestfileX</a:t>
            </a:r>
            <a:r>
              <a:rPr lang="nl-NL" dirty="0"/>
              <a:t> en de materiaal en product file (zoals hiervoor gebruikt) inladen.  </a:t>
            </a:r>
          </a:p>
        </p:txBody>
      </p:sp>
      <p:sp>
        <p:nvSpPr>
          <p:cNvPr id="4" name="Tijdelijke aanduiding voor inhoud 3">
            <a:extLst>
              <a:ext uri="{FF2B5EF4-FFF2-40B4-BE49-F238E27FC236}">
                <a16:creationId xmlns:a16="http://schemas.microsoft.com/office/drawing/2014/main" id="{3A6134FA-CB72-387E-BC93-D7FCACB1677C}"/>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B3A905DA-4A45-7F93-0DCA-73D95AE06924}"/>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pic>
        <p:nvPicPr>
          <p:cNvPr id="7" name="Afbeelding 6">
            <a:extLst>
              <a:ext uri="{FF2B5EF4-FFF2-40B4-BE49-F238E27FC236}">
                <a16:creationId xmlns:a16="http://schemas.microsoft.com/office/drawing/2014/main" id="{3E3952D8-F484-4958-9793-2B4DE9C43CD5}"/>
              </a:ext>
            </a:extLst>
          </p:cNvPr>
          <p:cNvPicPr>
            <a:picLocks noChangeAspect="1"/>
          </p:cNvPicPr>
          <p:nvPr/>
        </p:nvPicPr>
        <p:blipFill>
          <a:blip r:embed="rId2"/>
          <a:stretch>
            <a:fillRect/>
          </a:stretch>
        </p:blipFill>
        <p:spPr>
          <a:xfrm>
            <a:off x="1055160" y="1843788"/>
            <a:ext cx="4096322" cy="781159"/>
          </a:xfrm>
          <a:prstGeom prst="rect">
            <a:avLst/>
          </a:prstGeom>
        </p:spPr>
      </p:pic>
    </p:spTree>
    <p:extLst>
      <p:ext uri="{BB962C8B-B14F-4D97-AF65-F5344CB8AC3E}">
        <p14:creationId xmlns:p14="http://schemas.microsoft.com/office/powerpoint/2010/main" val="24844471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27645E-6B77-4495-83BE-F020D9237014}"/>
              </a:ext>
            </a:extLst>
          </p:cNvPr>
          <p:cNvSpPr>
            <a:spLocks noGrp="1"/>
          </p:cNvSpPr>
          <p:nvPr>
            <p:ph type="title"/>
          </p:nvPr>
        </p:nvSpPr>
        <p:spPr/>
        <p:txBody>
          <a:bodyPr/>
          <a:lstStyle/>
          <a:p>
            <a:r>
              <a:rPr lang="nl-NL" dirty="0"/>
              <a:t>Het maken van </a:t>
            </a:r>
            <a:r>
              <a:rPr lang="nl-NL" dirty="0" err="1"/>
              <a:t>queries</a:t>
            </a:r>
            <a:endParaRPr lang="nl-NL" dirty="0"/>
          </a:p>
        </p:txBody>
      </p:sp>
      <p:sp>
        <p:nvSpPr>
          <p:cNvPr id="3" name="Tijdelijke aanduiding voor tekst 2">
            <a:extLst>
              <a:ext uri="{FF2B5EF4-FFF2-40B4-BE49-F238E27FC236}">
                <a16:creationId xmlns:a16="http://schemas.microsoft.com/office/drawing/2014/main" id="{8EA9C816-D3FC-5907-ED24-7D59FC2C3AE3}"/>
              </a:ext>
            </a:extLst>
          </p:cNvPr>
          <p:cNvSpPr>
            <a:spLocks noGrp="1"/>
          </p:cNvSpPr>
          <p:nvPr>
            <p:ph type="body" sz="quarter" idx="10"/>
          </p:nvPr>
        </p:nvSpPr>
        <p:spPr/>
        <p:txBody>
          <a:bodyPr/>
          <a:lstStyle/>
          <a:p>
            <a:r>
              <a:rPr lang="nl-NL" dirty="0"/>
              <a:t>Voeg vooraf de benodigde prefixen toe bovenaan het scherm waarin je de </a:t>
            </a:r>
            <a:r>
              <a:rPr lang="nl-NL" dirty="0" err="1"/>
              <a:t>queries</a:t>
            </a:r>
            <a:r>
              <a:rPr lang="nl-NL" dirty="0"/>
              <a:t> gaat maken (dit van alle </a:t>
            </a:r>
            <a:r>
              <a:rPr lang="nl-NL" dirty="0" err="1"/>
              <a:t>ontologiën</a:t>
            </a:r>
            <a:r>
              <a:rPr lang="nl-NL" dirty="0"/>
              <a:t> die je nodig hebt. Je kunt deze o.a. </a:t>
            </a:r>
            <a:r>
              <a:rPr lang="nl-NL" dirty="0" err="1"/>
              <a:t>kopieren</a:t>
            </a:r>
            <a:r>
              <a:rPr lang="nl-NL" dirty="0"/>
              <a:t> uit je </a:t>
            </a:r>
            <a:r>
              <a:rPr lang="nl-NL" dirty="0" err="1"/>
              <a:t>testfileX</a:t>
            </a:r>
            <a:r>
              <a:rPr lang="nl-NL" dirty="0"/>
              <a:t>).</a:t>
            </a:r>
          </a:p>
          <a:p>
            <a:r>
              <a:rPr lang="nl-NL" dirty="0"/>
              <a:t>In de thesis beschikbaar in de </a:t>
            </a:r>
            <a:r>
              <a:rPr lang="nl-NL" dirty="0" err="1"/>
              <a:t>github</a:t>
            </a:r>
            <a:r>
              <a:rPr lang="nl-NL" dirty="0"/>
              <a:t> omgeving staan verschillende </a:t>
            </a:r>
            <a:r>
              <a:rPr lang="nl-NL" dirty="0" err="1"/>
              <a:t>queries</a:t>
            </a:r>
            <a:r>
              <a:rPr lang="nl-NL" dirty="0"/>
              <a:t> benoemd die je kunt namaken. Deze zijn terug te vinden in de bijlage van het document.</a:t>
            </a:r>
          </a:p>
          <a:p>
            <a:r>
              <a:rPr lang="nl-NL" dirty="0"/>
              <a:t>Mocht je andere </a:t>
            </a:r>
            <a:r>
              <a:rPr lang="nl-NL" dirty="0" err="1"/>
              <a:t>queries</a:t>
            </a:r>
            <a:r>
              <a:rPr lang="nl-NL" dirty="0"/>
              <a:t> willen maken, vraag gerust hulp aan </a:t>
            </a:r>
            <a:r>
              <a:rPr lang="nl-NL" dirty="0" err="1"/>
              <a:t>chatgpt</a:t>
            </a:r>
            <a:r>
              <a:rPr lang="nl-NL" dirty="0"/>
              <a:t>. Deze kan hierbij helpen</a:t>
            </a:r>
          </a:p>
          <a:p>
            <a:r>
              <a:rPr lang="nl-NL" dirty="0"/>
              <a:t>Zie rechts een voorbeeld van een query die gerund is</a:t>
            </a:r>
          </a:p>
          <a:p>
            <a:r>
              <a:rPr lang="nl-NL" dirty="0"/>
              <a:t>Mocht er iets fout gaan. Vraag dan ook hulp aan </a:t>
            </a:r>
            <a:r>
              <a:rPr lang="nl-NL" dirty="0" err="1"/>
              <a:t>chatgpt</a:t>
            </a:r>
            <a:r>
              <a:rPr lang="nl-NL" dirty="0"/>
              <a:t>. Deze kan al veel oplossingen voordragen</a:t>
            </a:r>
          </a:p>
        </p:txBody>
      </p:sp>
      <p:pic>
        <p:nvPicPr>
          <p:cNvPr id="5" name="Afbeelding 4">
            <a:extLst>
              <a:ext uri="{FF2B5EF4-FFF2-40B4-BE49-F238E27FC236}">
                <a16:creationId xmlns:a16="http://schemas.microsoft.com/office/drawing/2014/main" id="{3521F349-6141-AB2B-56F4-CF1FE4B811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1010" y="836452"/>
            <a:ext cx="4445000" cy="3977005"/>
          </a:xfrm>
          <a:prstGeom prst="rect">
            <a:avLst/>
          </a:prstGeom>
        </p:spPr>
      </p:pic>
      <p:cxnSp>
        <p:nvCxnSpPr>
          <p:cNvPr id="6" name="Rechte verbindingslijn met pijl 5">
            <a:extLst>
              <a:ext uri="{FF2B5EF4-FFF2-40B4-BE49-F238E27FC236}">
                <a16:creationId xmlns:a16="http://schemas.microsoft.com/office/drawing/2014/main" id="{185384D8-4E21-A32F-9ADC-4A4E70AC9E3E}"/>
              </a:ext>
            </a:extLst>
          </p:cNvPr>
          <p:cNvCxnSpPr>
            <a:cxnSpLocks/>
          </p:cNvCxnSpPr>
          <p:nvPr/>
        </p:nvCxnSpPr>
        <p:spPr>
          <a:xfrm flipV="1">
            <a:off x="8913914" y="691200"/>
            <a:ext cx="862384" cy="3212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Rechte verbindingslijn met pijl 7">
            <a:extLst>
              <a:ext uri="{FF2B5EF4-FFF2-40B4-BE49-F238E27FC236}">
                <a16:creationId xmlns:a16="http://schemas.microsoft.com/office/drawing/2014/main" id="{ABD41ED7-28D6-1A56-D62B-830DA4091CED}"/>
              </a:ext>
            </a:extLst>
          </p:cNvPr>
          <p:cNvCxnSpPr>
            <a:cxnSpLocks/>
          </p:cNvCxnSpPr>
          <p:nvPr/>
        </p:nvCxnSpPr>
        <p:spPr>
          <a:xfrm>
            <a:off x="9533626" y="1263678"/>
            <a:ext cx="1185706" cy="8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Rechte verbindingslijn met pijl 9">
            <a:extLst>
              <a:ext uri="{FF2B5EF4-FFF2-40B4-BE49-F238E27FC236}">
                <a16:creationId xmlns:a16="http://schemas.microsoft.com/office/drawing/2014/main" id="{D9D63F1D-585A-1ED5-C63F-0BFE4A6F2950}"/>
              </a:ext>
            </a:extLst>
          </p:cNvPr>
          <p:cNvCxnSpPr>
            <a:cxnSpLocks/>
          </p:cNvCxnSpPr>
          <p:nvPr/>
        </p:nvCxnSpPr>
        <p:spPr>
          <a:xfrm flipV="1">
            <a:off x="8913914" y="1720214"/>
            <a:ext cx="1805418" cy="36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Rechte verbindingslijn met pijl 11">
            <a:extLst>
              <a:ext uri="{FF2B5EF4-FFF2-40B4-BE49-F238E27FC236}">
                <a16:creationId xmlns:a16="http://schemas.microsoft.com/office/drawing/2014/main" id="{D48E7835-81D0-12DE-C208-8907E6200BBF}"/>
              </a:ext>
            </a:extLst>
          </p:cNvPr>
          <p:cNvCxnSpPr>
            <a:cxnSpLocks/>
          </p:cNvCxnSpPr>
          <p:nvPr/>
        </p:nvCxnSpPr>
        <p:spPr>
          <a:xfrm flipV="1">
            <a:off x="8011205" y="2151054"/>
            <a:ext cx="2708127" cy="23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Rechte verbindingslijn met pijl 13">
            <a:extLst>
              <a:ext uri="{FF2B5EF4-FFF2-40B4-BE49-F238E27FC236}">
                <a16:creationId xmlns:a16="http://schemas.microsoft.com/office/drawing/2014/main" id="{83B0A38A-485D-9072-2F6A-EFD2CAD94D3A}"/>
              </a:ext>
            </a:extLst>
          </p:cNvPr>
          <p:cNvCxnSpPr>
            <a:cxnSpLocks/>
          </p:cNvCxnSpPr>
          <p:nvPr/>
        </p:nvCxnSpPr>
        <p:spPr>
          <a:xfrm>
            <a:off x="10396010" y="3587505"/>
            <a:ext cx="10845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kstvak 15">
            <a:extLst>
              <a:ext uri="{FF2B5EF4-FFF2-40B4-BE49-F238E27FC236}">
                <a16:creationId xmlns:a16="http://schemas.microsoft.com/office/drawing/2014/main" id="{143D4C67-2049-CC3C-0FEA-B89F75408752}"/>
              </a:ext>
            </a:extLst>
          </p:cNvPr>
          <p:cNvSpPr txBox="1"/>
          <p:nvPr/>
        </p:nvSpPr>
        <p:spPr>
          <a:xfrm>
            <a:off x="9838194" y="537181"/>
            <a:ext cx="1569656" cy="246221"/>
          </a:xfrm>
          <a:prstGeom prst="rect">
            <a:avLst/>
          </a:prstGeom>
          <a:noFill/>
        </p:spPr>
        <p:txBody>
          <a:bodyPr wrap="square" rtlCol="0">
            <a:spAutoFit/>
          </a:bodyPr>
          <a:lstStyle/>
          <a:p>
            <a:r>
              <a:rPr lang="nl-NL" sz="1000" dirty="0"/>
              <a:t>De prefixen</a:t>
            </a:r>
          </a:p>
        </p:txBody>
      </p:sp>
      <p:sp>
        <p:nvSpPr>
          <p:cNvPr id="17" name="Tekstvak 16">
            <a:extLst>
              <a:ext uri="{FF2B5EF4-FFF2-40B4-BE49-F238E27FC236}">
                <a16:creationId xmlns:a16="http://schemas.microsoft.com/office/drawing/2014/main" id="{BCAC4939-A9AF-B875-9082-96BD50927A06}"/>
              </a:ext>
            </a:extLst>
          </p:cNvPr>
          <p:cNvSpPr txBox="1"/>
          <p:nvPr/>
        </p:nvSpPr>
        <p:spPr>
          <a:xfrm>
            <a:off x="10719332" y="1127081"/>
            <a:ext cx="1569656" cy="400110"/>
          </a:xfrm>
          <a:prstGeom prst="rect">
            <a:avLst/>
          </a:prstGeom>
          <a:noFill/>
        </p:spPr>
        <p:txBody>
          <a:bodyPr wrap="square" rtlCol="0">
            <a:spAutoFit/>
          </a:bodyPr>
          <a:lstStyle/>
          <a:p>
            <a:r>
              <a:rPr lang="nl-NL" sz="1000" dirty="0"/>
              <a:t>De namen die bovenin </a:t>
            </a:r>
          </a:p>
          <a:p>
            <a:r>
              <a:rPr lang="nl-NL" sz="1000" dirty="0"/>
              <a:t>Het tabel komen</a:t>
            </a:r>
          </a:p>
        </p:txBody>
      </p:sp>
      <p:sp>
        <p:nvSpPr>
          <p:cNvPr id="18" name="Tekstvak 17">
            <a:extLst>
              <a:ext uri="{FF2B5EF4-FFF2-40B4-BE49-F238E27FC236}">
                <a16:creationId xmlns:a16="http://schemas.microsoft.com/office/drawing/2014/main" id="{FAE9FBFF-30C8-25C0-94BD-1BB9A9B16431}"/>
              </a:ext>
            </a:extLst>
          </p:cNvPr>
          <p:cNvSpPr txBox="1"/>
          <p:nvPr/>
        </p:nvSpPr>
        <p:spPr>
          <a:xfrm>
            <a:off x="10695714" y="1557875"/>
            <a:ext cx="1569656" cy="246221"/>
          </a:xfrm>
          <a:prstGeom prst="rect">
            <a:avLst/>
          </a:prstGeom>
          <a:noFill/>
        </p:spPr>
        <p:txBody>
          <a:bodyPr wrap="square" rtlCol="0">
            <a:spAutoFit/>
          </a:bodyPr>
          <a:lstStyle/>
          <a:p>
            <a:r>
              <a:rPr lang="nl-NL" sz="1000" dirty="0"/>
              <a:t>De query</a:t>
            </a:r>
          </a:p>
        </p:txBody>
      </p:sp>
      <p:sp>
        <p:nvSpPr>
          <p:cNvPr id="19" name="Tekstvak 18">
            <a:extLst>
              <a:ext uri="{FF2B5EF4-FFF2-40B4-BE49-F238E27FC236}">
                <a16:creationId xmlns:a16="http://schemas.microsoft.com/office/drawing/2014/main" id="{FFFA4A67-E670-CD87-74A4-C9A907CC0B23}"/>
              </a:ext>
            </a:extLst>
          </p:cNvPr>
          <p:cNvSpPr txBox="1"/>
          <p:nvPr/>
        </p:nvSpPr>
        <p:spPr>
          <a:xfrm>
            <a:off x="10719332" y="2029268"/>
            <a:ext cx="1569656" cy="553998"/>
          </a:xfrm>
          <a:prstGeom prst="rect">
            <a:avLst/>
          </a:prstGeom>
          <a:noFill/>
        </p:spPr>
        <p:txBody>
          <a:bodyPr wrap="square" rtlCol="0">
            <a:spAutoFit/>
          </a:bodyPr>
          <a:lstStyle/>
          <a:p>
            <a:r>
              <a:rPr lang="nl-NL" sz="1000" dirty="0"/>
              <a:t>Een filter om enkel</a:t>
            </a:r>
          </a:p>
          <a:p>
            <a:r>
              <a:rPr lang="nl-NL" sz="1000" dirty="0"/>
              <a:t>De materialen met </a:t>
            </a:r>
          </a:p>
          <a:p>
            <a:r>
              <a:rPr lang="nl-NL" sz="1000" dirty="0"/>
              <a:t>Cement op te halen</a:t>
            </a:r>
          </a:p>
        </p:txBody>
      </p:sp>
      <p:sp>
        <p:nvSpPr>
          <p:cNvPr id="20" name="Tekstvak 19">
            <a:extLst>
              <a:ext uri="{FF2B5EF4-FFF2-40B4-BE49-F238E27FC236}">
                <a16:creationId xmlns:a16="http://schemas.microsoft.com/office/drawing/2014/main" id="{FE6A46C4-2036-80FC-9AAA-D091789BEFB8}"/>
              </a:ext>
            </a:extLst>
          </p:cNvPr>
          <p:cNvSpPr txBox="1"/>
          <p:nvPr/>
        </p:nvSpPr>
        <p:spPr>
          <a:xfrm>
            <a:off x="10396010" y="3305889"/>
            <a:ext cx="1569656" cy="246221"/>
          </a:xfrm>
          <a:prstGeom prst="rect">
            <a:avLst/>
          </a:prstGeom>
          <a:noFill/>
        </p:spPr>
        <p:txBody>
          <a:bodyPr wrap="square" rtlCol="0">
            <a:spAutoFit/>
          </a:bodyPr>
          <a:lstStyle/>
          <a:p>
            <a:r>
              <a:rPr lang="nl-NL" sz="1000" dirty="0"/>
              <a:t>De tabel die eruit komt</a:t>
            </a:r>
          </a:p>
        </p:txBody>
      </p:sp>
    </p:spTree>
    <p:extLst>
      <p:ext uri="{BB962C8B-B14F-4D97-AF65-F5344CB8AC3E}">
        <p14:creationId xmlns:p14="http://schemas.microsoft.com/office/powerpoint/2010/main" val="8050925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D76D3-1B35-6F3F-3D6C-85EBC010F728}"/>
              </a:ext>
            </a:extLst>
          </p:cNvPr>
          <p:cNvSpPr>
            <a:spLocks noGrp="1"/>
          </p:cNvSpPr>
          <p:nvPr>
            <p:ph type="title"/>
          </p:nvPr>
        </p:nvSpPr>
        <p:spPr/>
        <p:txBody>
          <a:bodyPr vert="horz" lIns="0" tIns="45720" rIns="91440" bIns="45720" anchor="t"/>
          <a:lstStyle/>
          <a:p>
            <a:r>
              <a:rPr lang="en-US">
                <a:cs typeface="Arial"/>
              </a:rPr>
              <a:t>Let op!</a:t>
            </a:r>
            <a:endParaRPr lang="en-US"/>
          </a:p>
        </p:txBody>
      </p:sp>
      <p:sp>
        <p:nvSpPr>
          <p:cNvPr id="3" name="Text Placeholder 2">
            <a:extLst>
              <a:ext uri="{FF2B5EF4-FFF2-40B4-BE49-F238E27FC236}">
                <a16:creationId xmlns:a16="http://schemas.microsoft.com/office/drawing/2014/main" id="{22C12031-7A65-874B-BCBA-56B63690C32F}"/>
              </a:ext>
            </a:extLst>
          </p:cNvPr>
          <p:cNvSpPr>
            <a:spLocks noGrp="1"/>
          </p:cNvSpPr>
          <p:nvPr>
            <p:ph type="body" sz="quarter" idx="10"/>
          </p:nvPr>
        </p:nvSpPr>
        <p:spPr/>
        <p:txBody>
          <a:bodyPr lIns="0" tIns="45720" rIns="91440" bIns="45720" anchor="t"/>
          <a:lstStyle/>
          <a:p>
            <a:r>
              <a:rPr lang="nl-NL" dirty="0">
                <a:cs typeface="Arial"/>
              </a:rPr>
              <a:t>De volgende dia’s zullen een uitleg geven over SHACL. Dit is </a:t>
            </a:r>
            <a:r>
              <a:rPr lang="nl-NL">
                <a:cs typeface="Arial"/>
              </a:rPr>
              <a:t>de taal die </a:t>
            </a:r>
            <a:r>
              <a:rPr lang="nl-NL" dirty="0">
                <a:cs typeface="Arial"/>
              </a:rPr>
              <a:t>de validatie uitvoert</a:t>
            </a:r>
          </a:p>
          <a:p>
            <a:r>
              <a:rPr lang="nl-NL" dirty="0">
                <a:cs typeface="Arial"/>
              </a:rPr>
              <a:t>Deze uitleg wordt gegeven, zodat indien aanpassingen gemaakt moeten worden de opzet duidelijk is. </a:t>
            </a:r>
          </a:p>
          <a:p>
            <a:r>
              <a:rPr lang="nl-NL" dirty="0">
                <a:cs typeface="Arial"/>
              </a:rPr>
              <a:t>Aanpassingen kunnen gemaakt worden binnen de bestaande structuur. Indien de structuur aangepast dient te worden of nieuwe controlerende factoren toegevoegd dienen te worden, kan dit alleen binnen bestaande </a:t>
            </a:r>
            <a:r>
              <a:rPr lang="nl-NL" dirty="0" err="1">
                <a:cs typeface="Arial"/>
              </a:rPr>
              <a:t>ontologiën</a:t>
            </a:r>
            <a:endParaRPr lang="nl-NL" dirty="0">
              <a:cs typeface="Arial"/>
            </a:endParaRPr>
          </a:p>
          <a:p>
            <a:r>
              <a:rPr lang="nl-NL" dirty="0">
                <a:cs typeface="Arial"/>
              </a:rPr>
              <a:t>Het SHACL bestand is opgenomen in de mappen van </a:t>
            </a:r>
            <a:r>
              <a:rPr lang="nl-NL" dirty="0" err="1">
                <a:cs typeface="Arial"/>
              </a:rPr>
              <a:t>Github</a:t>
            </a:r>
            <a:r>
              <a:rPr lang="nl-NL" dirty="0">
                <a:cs typeface="Arial"/>
              </a:rPr>
              <a:t>. Wanneer je bekend wilt raken met de structuur en werking kun je deze gebruiken om aanpassingen te maken en dingen uit te proberen.</a:t>
            </a:r>
          </a:p>
        </p:txBody>
      </p:sp>
      <p:sp>
        <p:nvSpPr>
          <p:cNvPr id="4" name="Content Placeholder 3">
            <a:extLst>
              <a:ext uri="{FF2B5EF4-FFF2-40B4-BE49-F238E27FC236}">
                <a16:creationId xmlns:a16="http://schemas.microsoft.com/office/drawing/2014/main" id="{64B85D4E-A357-F76D-0F0F-A2E2E1EE032B}"/>
              </a:ext>
            </a:extLst>
          </p:cNvPr>
          <p:cNvSpPr>
            <a:spLocks noGrp="1"/>
          </p:cNvSpPr>
          <p:nvPr>
            <p:ph sz="quarter" idx="11"/>
          </p:nvPr>
        </p:nvSpPr>
        <p:spPr/>
        <p:txBody>
          <a:bodyPr/>
          <a:lstStyle/>
          <a:p>
            <a:endParaRPr lang="en-US"/>
          </a:p>
        </p:txBody>
      </p:sp>
    </p:spTree>
    <p:extLst>
      <p:ext uri="{BB962C8B-B14F-4D97-AF65-F5344CB8AC3E}">
        <p14:creationId xmlns:p14="http://schemas.microsoft.com/office/powerpoint/2010/main" val="6167423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A8E75-BA75-8A51-F907-020248D0B47E}"/>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0CCF6616-F3DB-E50C-8D40-27068515C877}"/>
              </a:ext>
            </a:extLst>
          </p:cNvPr>
          <p:cNvSpPr>
            <a:spLocks noGrp="1"/>
          </p:cNvSpPr>
          <p:nvPr>
            <p:ph type="body" sz="quarter" idx="10"/>
          </p:nvPr>
        </p:nvSpPr>
        <p:spPr/>
        <p:txBody>
          <a:bodyPr lIns="0" tIns="45720" rIns="91440" bIns="45720" anchor="t"/>
          <a:lstStyle/>
          <a:p>
            <a:r>
              <a:rPr lang="en-US" dirty="0">
                <a:ea typeface="+mn-lt"/>
                <a:cs typeface="+mn-lt"/>
              </a:rPr>
              <a:t>Om met SHACL </a:t>
            </a:r>
            <a:r>
              <a:rPr lang="en-US" dirty="0" err="1">
                <a:ea typeface="+mn-lt"/>
                <a:cs typeface="+mn-lt"/>
              </a:rPr>
              <a:t>aan</a:t>
            </a:r>
            <a:r>
              <a:rPr lang="en-US" dirty="0">
                <a:ea typeface="+mn-lt"/>
                <a:cs typeface="+mn-lt"/>
              </a:rPr>
              <a:t> de slag </a:t>
            </a:r>
            <a:r>
              <a:rPr lang="en-US" dirty="0" err="1">
                <a:ea typeface="+mn-lt"/>
                <a:cs typeface="+mn-lt"/>
              </a:rPr>
              <a:t>te</a:t>
            </a:r>
            <a:r>
              <a:rPr lang="en-US" dirty="0">
                <a:ea typeface="+mn-lt"/>
                <a:cs typeface="+mn-lt"/>
              </a:rPr>
              <a:t> </a:t>
            </a:r>
            <a:r>
              <a:rPr lang="en-US" dirty="0" err="1">
                <a:ea typeface="+mn-lt"/>
                <a:cs typeface="+mn-lt"/>
              </a:rPr>
              <a:t>gaan</a:t>
            </a:r>
            <a:r>
              <a:rPr lang="en-US" dirty="0">
                <a:ea typeface="+mn-lt"/>
                <a:cs typeface="+mn-lt"/>
              </a:rPr>
              <a:t>, </a:t>
            </a:r>
            <a:r>
              <a:rPr lang="en-US" dirty="0" err="1">
                <a:ea typeface="+mn-lt"/>
                <a:cs typeface="+mn-lt"/>
              </a:rPr>
              <a:t>kunnen</a:t>
            </a:r>
            <a:r>
              <a:rPr lang="en-US" dirty="0">
                <a:ea typeface="+mn-lt"/>
                <a:cs typeface="+mn-lt"/>
              </a:rPr>
              <a:t> de </a:t>
            </a:r>
            <a:r>
              <a:rPr lang="en-US" dirty="0" err="1">
                <a:ea typeface="+mn-lt"/>
                <a:cs typeface="+mn-lt"/>
              </a:rPr>
              <a:t>volgende</a:t>
            </a:r>
            <a:r>
              <a:rPr lang="en-US" dirty="0">
                <a:ea typeface="+mn-lt"/>
                <a:cs typeface="+mn-lt"/>
              </a:rPr>
              <a:t> </a:t>
            </a:r>
            <a:r>
              <a:rPr lang="en-US" dirty="0" err="1">
                <a:ea typeface="+mn-lt"/>
                <a:cs typeface="+mn-lt"/>
              </a:rPr>
              <a:t>linkjes</a:t>
            </a:r>
            <a:r>
              <a:rPr lang="en-US" dirty="0">
                <a:ea typeface="+mn-lt"/>
                <a:cs typeface="+mn-lt"/>
              </a:rPr>
              <a:t> </a:t>
            </a:r>
            <a:r>
              <a:rPr lang="en-US" dirty="0" err="1">
                <a:ea typeface="+mn-lt"/>
                <a:cs typeface="+mn-lt"/>
              </a:rPr>
              <a:t>helpen</a:t>
            </a:r>
            <a:r>
              <a:rPr lang="en-US" dirty="0">
                <a:ea typeface="+mn-lt"/>
                <a:cs typeface="+mn-lt"/>
              </a:rPr>
              <a:t>. De </a:t>
            </a:r>
            <a:r>
              <a:rPr lang="en-US" dirty="0" err="1">
                <a:ea typeface="+mn-lt"/>
                <a:cs typeface="+mn-lt"/>
              </a:rPr>
              <a:t>eerste</a:t>
            </a:r>
            <a:r>
              <a:rPr lang="en-US" dirty="0">
                <a:ea typeface="+mn-lt"/>
                <a:cs typeface="+mn-lt"/>
              </a:rPr>
              <a:t> link (playground) is </a:t>
            </a:r>
            <a:r>
              <a:rPr lang="en-US" dirty="0" err="1">
                <a:ea typeface="+mn-lt"/>
                <a:cs typeface="+mn-lt"/>
              </a:rPr>
              <a:t>een</a:t>
            </a:r>
            <a:r>
              <a:rPr lang="en-US" dirty="0">
                <a:ea typeface="+mn-lt"/>
                <a:cs typeface="+mn-lt"/>
              </a:rPr>
              <a:t> SHACL validator tool. Hiermee </a:t>
            </a:r>
            <a:r>
              <a:rPr lang="en-US" dirty="0" err="1">
                <a:ea typeface="+mn-lt"/>
                <a:cs typeface="+mn-lt"/>
              </a:rPr>
              <a:t>kun</a:t>
            </a:r>
            <a:r>
              <a:rPr lang="en-US" dirty="0">
                <a:ea typeface="+mn-lt"/>
                <a:cs typeface="+mn-lt"/>
              </a:rPr>
              <a:t> je </a:t>
            </a:r>
            <a:r>
              <a:rPr lang="en-US" dirty="0" err="1">
                <a:ea typeface="+mn-lt"/>
                <a:cs typeface="+mn-lt"/>
              </a:rPr>
              <a:t>kleine</a:t>
            </a:r>
            <a:r>
              <a:rPr lang="en-US" dirty="0">
                <a:ea typeface="+mn-lt"/>
                <a:cs typeface="+mn-lt"/>
              </a:rPr>
              <a:t> </a:t>
            </a:r>
            <a:r>
              <a:rPr lang="en-US" dirty="0" err="1">
                <a:ea typeface="+mn-lt"/>
                <a:cs typeface="+mn-lt"/>
              </a:rPr>
              <a:t>stukjes</a:t>
            </a:r>
            <a:r>
              <a:rPr lang="en-US" dirty="0">
                <a:ea typeface="+mn-lt"/>
                <a:cs typeface="+mn-lt"/>
              </a:rPr>
              <a:t> van de SHACL (shape graph) </a:t>
            </a:r>
            <a:r>
              <a:rPr lang="en-US" dirty="0" err="1">
                <a:ea typeface="+mn-lt"/>
                <a:cs typeface="+mn-lt"/>
              </a:rPr>
              <a:t>testen</a:t>
            </a:r>
            <a:r>
              <a:rPr lang="en-US" dirty="0">
                <a:ea typeface="+mn-lt"/>
                <a:cs typeface="+mn-lt"/>
              </a:rPr>
              <a:t> </a:t>
            </a:r>
            <a:r>
              <a:rPr lang="en-US" dirty="0" err="1">
                <a:ea typeface="+mn-lt"/>
                <a:cs typeface="+mn-lt"/>
              </a:rPr>
              <a:t>tegenover</a:t>
            </a:r>
            <a:r>
              <a:rPr lang="en-US" dirty="0">
                <a:ea typeface="+mn-lt"/>
                <a:cs typeface="+mn-lt"/>
              </a:rPr>
              <a:t> de RDF graph (data graph). Er </a:t>
            </a:r>
            <a:r>
              <a:rPr lang="en-US" dirty="0" err="1">
                <a:ea typeface="+mn-lt"/>
                <a:cs typeface="+mn-lt"/>
              </a:rPr>
              <a:t>staat</a:t>
            </a:r>
            <a:r>
              <a:rPr lang="en-US" dirty="0">
                <a:ea typeface="+mn-lt"/>
                <a:cs typeface="+mn-lt"/>
              </a:rPr>
              <a:t> </a:t>
            </a:r>
            <a:r>
              <a:rPr lang="en-US" dirty="0" err="1">
                <a:ea typeface="+mn-lt"/>
                <a:cs typeface="+mn-lt"/>
              </a:rPr>
              <a:t>een</a:t>
            </a:r>
            <a:r>
              <a:rPr lang="en-US" dirty="0">
                <a:ea typeface="+mn-lt"/>
                <a:cs typeface="+mn-lt"/>
              </a:rPr>
              <a:t> </a:t>
            </a:r>
            <a:r>
              <a:rPr lang="en-US" dirty="0" err="1">
                <a:ea typeface="+mn-lt"/>
                <a:cs typeface="+mn-lt"/>
              </a:rPr>
              <a:t>automatisch</a:t>
            </a:r>
            <a:r>
              <a:rPr lang="en-US" dirty="0">
                <a:ea typeface="+mn-lt"/>
                <a:cs typeface="+mn-lt"/>
              </a:rPr>
              <a:t> </a:t>
            </a:r>
            <a:r>
              <a:rPr lang="en-US" dirty="0" err="1">
                <a:ea typeface="+mn-lt"/>
                <a:cs typeface="+mn-lt"/>
              </a:rPr>
              <a:t>voorbeeld</a:t>
            </a:r>
            <a:r>
              <a:rPr lang="en-US" dirty="0">
                <a:ea typeface="+mn-lt"/>
                <a:cs typeface="+mn-lt"/>
              </a:rPr>
              <a:t> </a:t>
            </a:r>
            <a:r>
              <a:rPr lang="en-US" dirty="0" err="1">
                <a:ea typeface="+mn-lt"/>
                <a:cs typeface="+mn-lt"/>
              </a:rPr>
              <a:t>weergegeven</a:t>
            </a:r>
            <a:r>
              <a:rPr lang="en-US" dirty="0">
                <a:ea typeface="+mn-lt"/>
                <a:cs typeface="+mn-lt"/>
              </a:rPr>
              <a:t>.</a:t>
            </a:r>
          </a:p>
          <a:p>
            <a:r>
              <a:rPr lang="en-US" dirty="0">
                <a:ea typeface="+mn-lt"/>
                <a:cs typeface="+mn-lt"/>
                <a:hlinkClick r:id="rId2"/>
              </a:rPr>
              <a:t>SHACL Playground</a:t>
            </a:r>
            <a:endParaRPr lang="en-US" dirty="0"/>
          </a:p>
          <a:p>
            <a:r>
              <a:rPr lang="en-US" dirty="0">
                <a:ea typeface="+mn-lt"/>
                <a:cs typeface="+mn-lt"/>
              </a:rPr>
              <a:t>De </a:t>
            </a:r>
            <a:r>
              <a:rPr lang="en-US" dirty="0" err="1">
                <a:ea typeface="+mn-lt"/>
                <a:cs typeface="+mn-lt"/>
              </a:rPr>
              <a:t>tweede</a:t>
            </a:r>
            <a:r>
              <a:rPr lang="en-US" dirty="0">
                <a:ea typeface="+mn-lt"/>
                <a:cs typeface="+mn-lt"/>
              </a:rPr>
              <a:t> link (</a:t>
            </a:r>
            <a:r>
              <a:rPr lang="en-US" dirty="0" err="1">
                <a:ea typeface="+mn-lt"/>
                <a:cs typeface="+mn-lt"/>
              </a:rPr>
              <a:t>engels</a:t>
            </a:r>
            <a:r>
              <a:rPr lang="en-US" dirty="0">
                <a:ea typeface="+mn-lt"/>
                <a:cs typeface="+mn-lt"/>
              </a:rPr>
              <a:t>) </a:t>
            </a:r>
            <a:r>
              <a:rPr lang="en-US" dirty="0" err="1">
                <a:ea typeface="+mn-lt"/>
                <a:cs typeface="+mn-lt"/>
              </a:rPr>
              <a:t>hieronder</a:t>
            </a:r>
            <a:r>
              <a:rPr lang="en-US" dirty="0">
                <a:ea typeface="+mn-lt"/>
                <a:cs typeface="+mn-lt"/>
              </a:rPr>
              <a:t> </a:t>
            </a:r>
            <a:r>
              <a:rPr lang="en-US" dirty="0" err="1">
                <a:ea typeface="+mn-lt"/>
                <a:cs typeface="+mn-lt"/>
              </a:rPr>
              <a:t>beschikt</a:t>
            </a:r>
            <a:r>
              <a:rPr lang="en-US" dirty="0">
                <a:ea typeface="+mn-lt"/>
                <a:cs typeface="+mn-lt"/>
              </a:rPr>
              <a:t> </a:t>
            </a:r>
            <a:r>
              <a:rPr lang="en-US" dirty="0" err="1">
                <a:ea typeface="+mn-lt"/>
                <a:cs typeface="+mn-lt"/>
              </a:rPr>
              <a:t>informatie</a:t>
            </a:r>
            <a:r>
              <a:rPr lang="en-US" dirty="0">
                <a:ea typeface="+mn-lt"/>
                <a:cs typeface="+mn-lt"/>
              </a:rPr>
              <a:t> over SHACL. Dit </a:t>
            </a:r>
            <a:r>
              <a:rPr lang="en-US" dirty="0" err="1">
                <a:ea typeface="+mn-lt"/>
                <a:cs typeface="+mn-lt"/>
              </a:rPr>
              <a:t>gaat</a:t>
            </a:r>
            <a:r>
              <a:rPr lang="en-US" dirty="0">
                <a:ea typeface="+mn-lt"/>
                <a:cs typeface="+mn-lt"/>
              </a:rPr>
              <a:t> wat </a:t>
            </a:r>
            <a:r>
              <a:rPr lang="en-US" dirty="0" err="1">
                <a:ea typeface="+mn-lt"/>
                <a:cs typeface="+mn-lt"/>
              </a:rPr>
              <a:t>dieper</a:t>
            </a:r>
            <a:r>
              <a:rPr lang="en-US" dirty="0">
                <a:ea typeface="+mn-lt"/>
                <a:cs typeface="+mn-lt"/>
              </a:rPr>
              <a:t> in op het </a:t>
            </a:r>
            <a:r>
              <a:rPr lang="en-US" dirty="0" err="1">
                <a:ea typeface="+mn-lt"/>
                <a:cs typeface="+mn-lt"/>
              </a:rPr>
              <a:t>onderwerp</a:t>
            </a:r>
            <a:r>
              <a:rPr lang="en-US" dirty="0">
                <a:ea typeface="+mn-lt"/>
                <a:cs typeface="+mn-lt"/>
              </a:rPr>
              <a:t>. Voor </a:t>
            </a:r>
            <a:r>
              <a:rPr lang="en-US" dirty="0" err="1">
                <a:ea typeface="+mn-lt"/>
                <a:cs typeface="+mn-lt"/>
              </a:rPr>
              <a:t>makkelijke</a:t>
            </a:r>
            <a:r>
              <a:rPr lang="en-US" dirty="0">
                <a:ea typeface="+mn-lt"/>
                <a:cs typeface="+mn-lt"/>
              </a:rPr>
              <a:t> </a:t>
            </a:r>
            <a:r>
              <a:rPr lang="en-US" dirty="0" err="1">
                <a:ea typeface="+mn-lt"/>
                <a:cs typeface="+mn-lt"/>
              </a:rPr>
              <a:t>voorbeelden</a:t>
            </a:r>
            <a:r>
              <a:rPr lang="en-US" dirty="0">
                <a:ea typeface="+mn-lt"/>
                <a:cs typeface="+mn-lt"/>
              </a:rPr>
              <a:t> van SHACL, </a:t>
            </a:r>
            <a:r>
              <a:rPr lang="en-US" dirty="0" err="1">
                <a:ea typeface="+mn-lt"/>
                <a:cs typeface="+mn-lt"/>
              </a:rPr>
              <a:t>zie</a:t>
            </a:r>
            <a:r>
              <a:rPr lang="en-US" dirty="0">
                <a:ea typeface="+mn-lt"/>
                <a:cs typeface="+mn-lt"/>
              </a:rPr>
              <a:t> </a:t>
            </a:r>
            <a:r>
              <a:rPr lang="en-US" dirty="0" err="1">
                <a:ea typeface="+mn-lt"/>
                <a:cs typeface="+mn-lt"/>
              </a:rPr>
              <a:t>volgende</a:t>
            </a:r>
            <a:r>
              <a:rPr lang="en-US" dirty="0">
                <a:ea typeface="+mn-lt"/>
                <a:cs typeface="+mn-lt"/>
              </a:rPr>
              <a:t> dia.</a:t>
            </a:r>
          </a:p>
          <a:p>
            <a:r>
              <a:rPr lang="en-US" dirty="0">
                <a:ea typeface="+mn-lt"/>
                <a:cs typeface="+mn-lt"/>
                <a:hlinkClick r:id="rId3"/>
              </a:rPr>
              <a:t>Shapes Constraint Language (SHACL) (w3.org)</a:t>
            </a:r>
            <a:endParaRPr lang="en-US" dirty="0">
              <a:ea typeface="+mn-lt"/>
              <a:cs typeface="+mn-lt"/>
            </a:endParaRPr>
          </a:p>
          <a:p>
            <a:r>
              <a:rPr lang="en-US" dirty="0">
                <a:cs typeface="Arial"/>
              </a:rPr>
              <a:t>Andere links met </a:t>
            </a:r>
            <a:r>
              <a:rPr lang="en-US" dirty="0" err="1">
                <a:cs typeface="Arial"/>
              </a:rPr>
              <a:t>korte</a:t>
            </a:r>
            <a:r>
              <a:rPr lang="en-US" dirty="0">
                <a:cs typeface="Arial"/>
              </a:rPr>
              <a:t> </a:t>
            </a:r>
            <a:r>
              <a:rPr lang="en-US" dirty="0" err="1">
                <a:cs typeface="Arial"/>
              </a:rPr>
              <a:t>uitleg</a:t>
            </a:r>
            <a:r>
              <a:rPr lang="en-US" dirty="0">
                <a:cs typeface="Arial"/>
              </a:rPr>
              <a:t> </a:t>
            </a:r>
            <a:r>
              <a:rPr lang="en-US" dirty="0" err="1">
                <a:cs typeface="Arial"/>
              </a:rPr>
              <a:t>en</a:t>
            </a:r>
            <a:r>
              <a:rPr lang="en-US" dirty="0">
                <a:cs typeface="Arial"/>
              </a:rPr>
              <a:t> </a:t>
            </a:r>
            <a:r>
              <a:rPr lang="en-US" dirty="0" err="1">
                <a:cs typeface="Arial"/>
              </a:rPr>
              <a:t>voorbeelden</a:t>
            </a:r>
            <a:endParaRPr lang="en-US" dirty="0">
              <a:cs typeface="Arial"/>
            </a:endParaRPr>
          </a:p>
          <a:p>
            <a:r>
              <a:rPr lang="en-US" dirty="0">
                <a:ea typeface="+mn-lt"/>
                <a:cs typeface="+mn-lt"/>
                <a:hlinkClick r:id="rId4"/>
              </a:rPr>
              <a:t>Shacl Rules</a:t>
            </a:r>
            <a:endParaRPr lang="en-US" dirty="0">
              <a:cs typeface="Arial"/>
            </a:endParaRPr>
          </a:p>
          <a:p>
            <a:r>
              <a:rPr lang="en-US" dirty="0">
                <a:ea typeface="+mn-lt"/>
                <a:cs typeface="+mn-lt"/>
                <a:hlinkClick r:id="rId5"/>
              </a:rPr>
              <a:t>SHACL: Logische- en vormcontroles met kennisgraaftechnologieën | Smals</a:t>
            </a:r>
            <a:endParaRPr lang="en-US" dirty="0">
              <a:cs typeface="Arial"/>
            </a:endParaRPr>
          </a:p>
          <a:p>
            <a:endParaRPr lang="en-US">
              <a:cs typeface="Arial"/>
            </a:endParaRPr>
          </a:p>
        </p:txBody>
      </p:sp>
      <p:sp>
        <p:nvSpPr>
          <p:cNvPr id="4" name="Content Placeholder 3">
            <a:extLst>
              <a:ext uri="{FF2B5EF4-FFF2-40B4-BE49-F238E27FC236}">
                <a16:creationId xmlns:a16="http://schemas.microsoft.com/office/drawing/2014/main" id="{7F32DA15-10F7-BD8B-5283-7DBE6C825017}"/>
              </a:ext>
            </a:extLst>
          </p:cNvPr>
          <p:cNvSpPr>
            <a:spLocks noGrp="1"/>
          </p:cNvSpPr>
          <p:nvPr>
            <p:ph sz="quarter" idx="11"/>
          </p:nvPr>
        </p:nvSpPr>
        <p:spPr/>
        <p:txBody>
          <a:bodyPr/>
          <a:lstStyle/>
          <a:p>
            <a:endParaRPr lang="en-US"/>
          </a:p>
        </p:txBody>
      </p:sp>
      <p:sp>
        <p:nvSpPr>
          <p:cNvPr id="6" name="Ovaal 4">
            <a:extLst>
              <a:ext uri="{FF2B5EF4-FFF2-40B4-BE49-F238E27FC236}">
                <a16:creationId xmlns:a16="http://schemas.microsoft.com/office/drawing/2014/main" id="{914084C2-EE6A-F649-9605-61F8939E0BD6}"/>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spTree>
    <p:extLst>
      <p:ext uri="{BB962C8B-B14F-4D97-AF65-F5344CB8AC3E}">
        <p14:creationId xmlns:p14="http://schemas.microsoft.com/office/powerpoint/2010/main" val="33018798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2F6FC-F550-F41C-E7D4-F41F16C70E97}"/>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656C617F-C28F-6723-6B08-417A2014A62D}"/>
              </a:ext>
            </a:extLst>
          </p:cNvPr>
          <p:cNvSpPr>
            <a:spLocks noGrp="1"/>
          </p:cNvSpPr>
          <p:nvPr>
            <p:ph type="body" sz="quarter" idx="10"/>
          </p:nvPr>
        </p:nvSpPr>
        <p:spPr/>
        <p:txBody>
          <a:bodyPr lIns="0" tIns="45720" rIns="91440" bIns="45720" anchor="t"/>
          <a:lstStyle/>
          <a:p>
            <a:r>
              <a:rPr lang="en-US" dirty="0" err="1">
                <a:cs typeface="Arial"/>
              </a:rPr>
              <a:t>Eerst</a:t>
            </a:r>
            <a:r>
              <a:rPr lang="en-US" dirty="0">
                <a:cs typeface="Arial"/>
              </a:rPr>
              <a:t> </a:t>
            </a:r>
            <a:r>
              <a:rPr lang="en-US" dirty="0" err="1">
                <a:cs typeface="Arial"/>
              </a:rPr>
              <a:t>dienen</a:t>
            </a:r>
            <a:r>
              <a:rPr lang="en-US" dirty="0">
                <a:cs typeface="Arial"/>
              </a:rPr>
              <a:t> de </a:t>
            </a:r>
            <a:r>
              <a:rPr lang="en-US" dirty="0" err="1">
                <a:cs typeface="Arial"/>
              </a:rPr>
              <a:t>prefixen</a:t>
            </a:r>
            <a:r>
              <a:rPr lang="en-US" dirty="0">
                <a:cs typeface="Arial"/>
              </a:rPr>
              <a:t> </a:t>
            </a:r>
            <a:r>
              <a:rPr lang="en-US" dirty="0" err="1">
                <a:cs typeface="Arial"/>
              </a:rPr>
              <a:t>toegevoegd</a:t>
            </a:r>
            <a:r>
              <a:rPr lang="en-US" dirty="0">
                <a:cs typeface="Arial"/>
              </a:rPr>
              <a:t> </a:t>
            </a:r>
            <a:r>
              <a:rPr lang="en-US" dirty="0" err="1">
                <a:cs typeface="Arial"/>
              </a:rPr>
              <a:t>te</a:t>
            </a:r>
            <a:r>
              <a:rPr lang="en-US" dirty="0">
                <a:cs typeface="Arial"/>
              </a:rPr>
              <a:t> </a:t>
            </a:r>
            <a:r>
              <a:rPr lang="en-US" dirty="0" err="1">
                <a:cs typeface="Arial"/>
              </a:rPr>
              <a:t>worden</a:t>
            </a:r>
            <a:r>
              <a:rPr lang="en-US" dirty="0">
                <a:cs typeface="Arial"/>
              </a:rPr>
              <a:t> </a:t>
            </a:r>
            <a:r>
              <a:rPr lang="en-US" dirty="0" err="1">
                <a:cs typeface="Arial"/>
              </a:rPr>
              <a:t>aan</a:t>
            </a:r>
            <a:r>
              <a:rPr lang="en-US" dirty="0">
                <a:cs typeface="Arial"/>
              </a:rPr>
              <a:t> de file (</a:t>
            </a:r>
            <a:r>
              <a:rPr lang="en-US" dirty="0" err="1">
                <a:cs typeface="Arial"/>
              </a:rPr>
              <a:t>zoals</a:t>
            </a:r>
            <a:r>
              <a:rPr lang="en-US" dirty="0">
                <a:cs typeface="Arial"/>
              </a:rPr>
              <a:t> de </a:t>
            </a:r>
            <a:r>
              <a:rPr lang="en-US" dirty="0" err="1">
                <a:cs typeface="Arial"/>
              </a:rPr>
              <a:t>foto</a:t>
            </a:r>
            <a:r>
              <a:rPr lang="en-US" dirty="0">
                <a:cs typeface="Arial"/>
              </a:rPr>
              <a:t> </a:t>
            </a:r>
            <a:r>
              <a:rPr lang="en-US" dirty="0" err="1">
                <a:cs typeface="Arial"/>
              </a:rPr>
              <a:t>hiernaast</a:t>
            </a:r>
            <a:r>
              <a:rPr lang="en-US" dirty="0">
                <a:cs typeface="Arial"/>
              </a:rPr>
              <a:t>).</a:t>
            </a:r>
          </a:p>
          <a:p>
            <a:r>
              <a:rPr lang="en-US" dirty="0" err="1">
                <a:cs typeface="Arial"/>
              </a:rPr>
              <a:t>Daarna</a:t>
            </a:r>
            <a:r>
              <a:rPr lang="en-US" dirty="0">
                <a:cs typeface="Arial"/>
              </a:rPr>
              <a:t> </a:t>
            </a:r>
            <a:r>
              <a:rPr lang="en-US" dirty="0" err="1">
                <a:cs typeface="Arial"/>
              </a:rPr>
              <a:t>kunnen</a:t>
            </a:r>
            <a:r>
              <a:rPr lang="en-US" dirty="0">
                <a:cs typeface="Arial"/>
              </a:rPr>
              <a:t> de SHACL constraints </a:t>
            </a:r>
            <a:r>
              <a:rPr lang="en-US" dirty="0" err="1">
                <a:cs typeface="Arial"/>
              </a:rPr>
              <a:t>opgesteld</a:t>
            </a:r>
            <a:r>
              <a:rPr lang="en-US" dirty="0">
                <a:cs typeface="Arial"/>
              </a:rPr>
              <a:t> </a:t>
            </a:r>
            <a:r>
              <a:rPr lang="en-US" dirty="0" err="1">
                <a:cs typeface="Arial"/>
              </a:rPr>
              <a:t>worden</a:t>
            </a:r>
            <a:r>
              <a:rPr lang="en-US" dirty="0">
                <a:cs typeface="Arial"/>
              </a:rPr>
              <a:t>. Dit is </a:t>
            </a:r>
            <a:r>
              <a:rPr lang="en-US" dirty="0" err="1">
                <a:cs typeface="Arial"/>
              </a:rPr>
              <a:t>te</a:t>
            </a:r>
            <a:r>
              <a:rPr lang="en-US" dirty="0">
                <a:cs typeface="Arial"/>
              </a:rPr>
              <a:t> </a:t>
            </a:r>
            <a:r>
              <a:rPr lang="en-US" dirty="0" err="1">
                <a:cs typeface="Arial"/>
              </a:rPr>
              <a:t>zien</a:t>
            </a:r>
            <a:r>
              <a:rPr lang="en-US" dirty="0">
                <a:cs typeface="Arial"/>
              </a:rPr>
              <a:t> op de </a:t>
            </a:r>
            <a:r>
              <a:rPr lang="en-US" dirty="0" err="1">
                <a:cs typeface="Arial"/>
              </a:rPr>
              <a:t>foto</a:t>
            </a:r>
            <a:r>
              <a:rPr lang="en-US" dirty="0">
                <a:cs typeface="Arial"/>
              </a:rPr>
              <a:t> </a:t>
            </a:r>
            <a:r>
              <a:rPr lang="en-US" dirty="0" err="1">
                <a:cs typeface="Arial"/>
              </a:rPr>
              <a:t>onderaan</a:t>
            </a:r>
            <a:r>
              <a:rPr lang="en-US" dirty="0">
                <a:cs typeface="Arial"/>
              </a:rPr>
              <a:t>. Hier is </a:t>
            </a:r>
            <a:r>
              <a:rPr lang="en-US" dirty="0" err="1">
                <a:cs typeface="Arial"/>
              </a:rPr>
              <a:t>een</a:t>
            </a:r>
            <a:r>
              <a:rPr lang="en-US" dirty="0">
                <a:cs typeface="Arial"/>
              </a:rPr>
              <a:t> constraint </a:t>
            </a:r>
            <a:r>
              <a:rPr lang="en-US" dirty="0" err="1">
                <a:cs typeface="Arial"/>
              </a:rPr>
              <a:t>te</a:t>
            </a:r>
            <a:r>
              <a:rPr lang="en-US" dirty="0">
                <a:cs typeface="Arial"/>
              </a:rPr>
              <a:t> </a:t>
            </a:r>
            <a:r>
              <a:rPr lang="en-US" dirty="0" err="1">
                <a:cs typeface="Arial"/>
              </a:rPr>
              <a:t>zien</a:t>
            </a:r>
            <a:r>
              <a:rPr lang="en-US" dirty="0">
                <a:cs typeface="Arial"/>
              </a:rPr>
              <a:t> van </a:t>
            </a:r>
            <a:r>
              <a:rPr lang="en-US" dirty="0" err="1">
                <a:cs typeface="Arial"/>
              </a:rPr>
              <a:t>een</a:t>
            </a:r>
            <a:r>
              <a:rPr lang="en-US" dirty="0">
                <a:cs typeface="Arial"/>
              </a:rPr>
              <a:t> </a:t>
            </a:r>
            <a:r>
              <a:rPr lang="en-US" dirty="0" err="1">
                <a:cs typeface="Arial"/>
              </a:rPr>
              <a:t>materiaal</a:t>
            </a:r>
            <a:r>
              <a:rPr lang="en-US" dirty="0">
                <a:cs typeface="Arial"/>
              </a:rPr>
              <a:t> GUID. </a:t>
            </a:r>
            <a:r>
              <a:rPr lang="en-US" dirty="0" err="1">
                <a:cs typeface="Arial"/>
              </a:rPr>
              <a:t>Verdere</a:t>
            </a:r>
            <a:r>
              <a:rPr lang="en-US" dirty="0">
                <a:cs typeface="Arial"/>
              </a:rPr>
              <a:t> </a:t>
            </a:r>
            <a:r>
              <a:rPr lang="en-US" dirty="0" err="1">
                <a:cs typeface="Arial"/>
              </a:rPr>
              <a:t>uitleg</a:t>
            </a:r>
            <a:r>
              <a:rPr lang="en-US" dirty="0">
                <a:cs typeface="Arial"/>
              </a:rPr>
              <a:t> is </a:t>
            </a:r>
            <a:r>
              <a:rPr lang="en-US" dirty="0" err="1">
                <a:cs typeface="Arial"/>
              </a:rPr>
              <a:t>terug</a:t>
            </a:r>
            <a:r>
              <a:rPr lang="en-US" dirty="0">
                <a:cs typeface="Arial"/>
              </a:rPr>
              <a:t> </a:t>
            </a:r>
            <a:r>
              <a:rPr lang="en-US" dirty="0" err="1">
                <a:cs typeface="Arial"/>
              </a:rPr>
              <a:t>te</a:t>
            </a:r>
            <a:r>
              <a:rPr lang="en-US" dirty="0">
                <a:cs typeface="Arial"/>
              </a:rPr>
              <a:t> </a:t>
            </a:r>
            <a:r>
              <a:rPr lang="en-US" dirty="0" err="1">
                <a:cs typeface="Arial"/>
              </a:rPr>
              <a:t>vinden</a:t>
            </a:r>
            <a:r>
              <a:rPr lang="en-US" dirty="0">
                <a:cs typeface="Arial"/>
              </a:rPr>
              <a:t> op de </a:t>
            </a:r>
            <a:r>
              <a:rPr lang="en-US" dirty="0" err="1">
                <a:cs typeface="Arial"/>
              </a:rPr>
              <a:t>volgende</a:t>
            </a:r>
            <a:r>
              <a:rPr lang="en-US" dirty="0">
                <a:cs typeface="Arial"/>
              </a:rPr>
              <a:t> dia.</a:t>
            </a:r>
          </a:p>
        </p:txBody>
      </p:sp>
      <p:sp>
        <p:nvSpPr>
          <p:cNvPr id="6" name="Ovaal 4">
            <a:extLst>
              <a:ext uri="{FF2B5EF4-FFF2-40B4-BE49-F238E27FC236}">
                <a16:creationId xmlns:a16="http://schemas.microsoft.com/office/drawing/2014/main" id="{D07DA453-8830-F15E-ADC7-A0302049843B}"/>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pic>
        <p:nvPicPr>
          <p:cNvPr id="10" name="Content Placeholder 9">
            <a:extLst>
              <a:ext uri="{FF2B5EF4-FFF2-40B4-BE49-F238E27FC236}">
                <a16:creationId xmlns:a16="http://schemas.microsoft.com/office/drawing/2014/main" id="{71E4A031-54C2-956E-6C5C-464DF55BB3A6}"/>
              </a:ext>
            </a:extLst>
          </p:cNvPr>
          <p:cNvPicPr>
            <a:picLocks noGrp="1" noChangeAspect="1"/>
          </p:cNvPicPr>
          <p:nvPr>
            <p:ph sz="quarter" idx="11"/>
          </p:nvPr>
        </p:nvPicPr>
        <p:blipFill>
          <a:blip r:embed="rId2"/>
          <a:stretch>
            <a:fillRect/>
          </a:stretch>
        </p:blipFill>
        <p:spPr>
          <a:xfrm>
            <a:off x="6473561" y="4031790"/>
            <a:ext cx="4038600" cy="2295525"/>
          </a:xfrm>
        </p:spPr>
      </p:pic>
      <p:pic>
        <p:nvPicPr>
          <p:cNvPr id="11" name="Picture 10">
            <a:extLst>
              <a:ext uri="{FF2B5EF4-FFF2-40B4-BE49-F238E27FC236}">
                <a16:creationId xmlns:a16="http://schemas.microsoft.com/office/drawing/2014/main" id="{20AF4A32-D1DD-8D26-B7C9-F3555925502C}"/>
              </a:ext>
            </a:extLst>
          </p:cNvPr>
          <p:cNvPicPr>
            <a:picLocks noChangeAspect="1"/>
          </p:cNvPicPr>
          <p:nvPr/>
        </p:nvPicPr>
        <p:blipFill>
          <a:blip r:embed="rId3"/>
          <a:stretch>
            <a:fillRect/>
          </a:stretch>
        </p:blipFill>
        <p:spPr>
          <a:xfrm>
            <a:off x="6491839" y="842065"/>
            <a:ext cx="4939886" cy="3186044"/>
          </a:xfrm>
          <a:prstGeom prst="rect">
            <a:avLst/>
          </a:prstGeom>
        </p:spPr>
      </p:pic>
    </p:spTree>
    <p:extLst>
      <p:ext uri="{BB962C8B-B14F-4D97-AF65-F5344CB8AC3E}">
        <p14:creationId xmlns:p14="http://schemas.microsoft.com/office/powerpoint/2010/main" val="16947104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D5B65-3063-CC83-FE3B-B72D6CBCC930}"/>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1CFDD6C2-C54D-9EEB-7E31-F58FAE6B85B1}"/>
              </a:ext>
            </a:extLst>
          </p:cNvPr>
          <p:cNvSpPr>
            <a:spLocks noGrp="1"/>
          </p:cNvSpPr>
          <p:nvPr>
            <p:ph type="body" sz="quarter" idx="10"/>
          </p:nvPr>
        </p:nvSpPr>
        <p:spPr>
          <a:xfrm>
            <a:off x="1055688" y="1144029"/>
            <a:ext cx="4572000" cy="4995288"/>
          </a:xfrm>
        </p:spPr>
        <p:txBody>
          <a:bodyPr lIns="0" tIns="45720" rIns="91440" bIns="45720" anchor="t"/>
          <a:lstStyle/>
          <a:p>
            <a:r>
              <a:rPr lang="en-US" dirty="0">
                <a:cs typeface="Arial"/>
              </a:rPr>
              <a:t>Regel 24-26: in </a:t>
            </a:r>
            <a:r>
              <a:rPr lang="en-US" dirty="0" err="1">
                <a:cs typeface="Arial"/>
              </a:rPr>
              <a:t>deze</a:t>
            </a:r>
            <a:r>
              <a:rPr lang="en-US" dirty="0">
                <a:cs typeface="Arial"/>
              </a:rPr>
              <a:t> regel is </a:t>
            </a:r>
            <a:r>
              <a:rPr lang="en-US" dirty="0" err="1">
                <a:cs typeface="Arial"/>
              </a:rPr>
              <a:t>aangegeven</a:t>
            </a:r>
            <a:r>
              <a:rPr lang="en-US" dirty="0">
                <a:cs typeface="Arial"/>
              </a:rPr>
              <a:t> welk </a:t>
            </a:r>
            <a:r>
              <a:rPr lang="en-US" dirty="0" err="1">
                <a:cs typeface="Arial"/>
              </a:rPr>
              <a:t>onderdeel</a:t>
            </a:r>
            <a:r>
              <a:rPr lang="en-US" dirty="0">
                <a:cs typeface="Arial"/>
              </a:rPr>
              <a:t> </a:t>
            </a:r>
            <a:r>
              <a:rPr lang="en-US" dirty="0" err="1">
                <a:cs typeface="Arial"/>
              </a:rPr>
              <a:t>gecontroleerd</a:t>
            </a:r>
            <a:r>
              <a:rPr lang="en-US" dirty="0">
                <a:cs typeface="Arial"/>
              </a:rPr>
              <a:t> </a:t>
            </a:r>
            <a:r>
              <a:rPr lang="en-US" dirty="0" err="1">
                <a:cs typeface="Arial"/>
              </a:rPr>
              <a:t>dient</a:t>
            </a:r>
            <a:r>
              <a:rPr lang="en-US" dirty="0">
                <a:cs typeface="Arial"/>
              </a:rPr>
              <a:t> </a:t>
            </a:r>
            <a:r>
              <a:rPr lang="en-US" dirty="0" err="1">
                <a:cs typeface="Arial"/>
              </a:rPr>
              <a:t>te</a:t>
            </a:r>
            <a:r>
              <a:rPr lang="en-US" dirty="0">
                <a:cs typeface="Arial"/>
              </a:rPr>
              <a:t> </a:t>
            </a:r>
            <a:r>
              <a:rPr lang="en-US" dirty="0" err="1">
                <a:cs typeface="Arial"/>
              </a:rPr>
              <a:t>worden</a:t>
            </a:r>
            <a:r>
              <a:rPr lang="en-US" dirty="0">
                <a:cs typeface="Arial"/>
              </a:rPr>
              <a:t>. Hier is </a:t>
            </a:r>
            <a:r>
              <a:rPr lang="en-US" dirty="0" err="1">
                <a:cs typeface="Arial"/>
              </a:rPr>
              <a:t>aangegeven</a:t>
            </a:r>
            <a:r>
              <a:rPr lang="en-US" dirty="0">
                <a:cs typeface="Arial"/>
              </a:rPr>
              <a:t> </a:t>
            </a:r>
            <a:r>
              <a:rPr lang="en-US" dirty="0" err="1">
                <a:cs typeface="Arial"/>
              </a:rPr>
              <a:t>dat</a:t>
            </a:r>
            <a:r>
              <a:rPr lang="en-US" dirty="0">
                <a:cs typeface="Arial"/>
              </a:rPr>
              <a:t> elk item </a:t>
            </a:r>
            <a:r>
              <a:rPr lang="en-US" dirty="0" err="1">
                <a:cs typeface="Arial"/>
              </a:rPr>
              <a:t>dat</a:t>
            </a:r>
            <a:r>
              <a:rPr lang="en-US" dirty="0">
                <a:cs typeface="Arial"/>
              </a:rPr>
              <a:t> is </a:t>
            </a:r>
            <a:r>
              <a:rPr lang="en-US" dirty="0" err="1">
                <a:cs typeface="Arial"/>
              </a:rPr>
              <a:t>benoemd</a:t>
            </a:r>
            <a:r>
              <a:rPr lang="en-US" dirty="0">
                <a:cs typeface="Arial"/>
              </a:rPr>
              <a:t> </a:t>
            </a:r>
            <a:r>
              <a:rPr lang="en-US" dirty="0" err="1">
                <a:cs typeface="Arial"/>
              </a:rPr>
              <a:t>als</a:t>
            </a:r>
            <a:r>
              <a:rPr lang="en-US" dirty="0">
                <a:cs typeface="Arial"/>
              </a:rPr>
              <a:t> '</a:t>
            </a:r>
            <a:r>
              <a:rPr lang="en-US" dirty="0" err="1">
                <a:cs typeface="Arial"/>
              </a:rPr>
              <a:t>materiaal</a:t>
            </a:r>
            <a:r>
              <a:rPr lang="en-US" dirty="0">
                <a:cs typeface="Arial"/>
              </a:rPr>
              <a:t>' </a:t>
            </a:r>
            <a:r>
              <a:rPr lang="en-US" dirty="0" err="1">
                <a:cs typeface="Arial"/>
              </a:rPr>
              <a:t>gecontroleerd</a:t>
            </a:r>
            <a:r>
              <a:rPr lang="en-US" dirty="0">
                <a:cs typeface="Arial"/>
              </a:rPr>
              <a:t> </a:t>
            </a:r>
            <a:r>
              <a:rPr lang="en-US" dirty="0" err="1">
                <a:cs typeface="Arial"/>
              </a:rPr>
              <a:t>dient</a:t>
            </a:r>
            <a:r>
              <a:rPr lang="en-US" dirty="0">
                <a:cs typeface="Arial"/>
              </a:rPr>
              <a:t> </a:t>
            </a:r>
            <a:r>
              <a:rPr lang="en-US" dirty="0" err="1">
                <a:cs typeface="Arial"/>
              </a:rPr>
              <a:t>te</a:t>
            </a:r>
            <a:r>
              <a:rPr lang="en-US" dirty="0">
                <a:cs typeface="Arial"/>
              </a:rPr>
              <a:t> </a:t>
            </a:r>
            <a:r>
              <a:rPr lang="en-US" dirty="0" err="1">
                <a:cs typeface="Arial"/>
              </a:rPr>
              <a:t>worden</a:t>
            </a:r>
            <a:r>
              <a:rPr lang="en-US" dirty="0">
                <a:cs typeface="Arial"/>
              </a:rPr>
              <a:t>.</a:t>
            </a:r>
          </a:p>
          <a:p>
            <a:r>
              <a:rPr lang="en-US" dirty="0">
                <a:cs typeface="Arial"/>
              </a:rPr>
              <a:t>Regel 27: op </a:t>
            </a:r>
            <a:r>
              <a:rPr lang="en-US" dirty="0" err="1">
                <a:cs typeface="Arial"/>
              </a:rPr>
              <a:t>deze</a:t>
            </a:r>
            <a:r>
              <a:rPr lang="en-US" dirty="0">
                <a:cs typeface="Arial"/>
              </a:rPr>
              <a:t> </a:t>
            </a:r>
            <a:r>
              <a:rPr lang="en-US" dirty="0" err="1">
                <a:cs typeface="Arial"/>
              </a:rPr>
              <a:t>manier</a:t>
            </a:r>
            <a:r>
              <a:rPr lang="en-US" dirty="0">
                <a:cs typeface="Arial"/>
              </a:rPr>
              <a:t> open je het </a:t>
            </a:r>
            <a:r>
              <a:rPr lang="en-US" dirty="0" err="1">
                <a:cs typeface="Arial"/>
              </a:rPr>
              <a:t>stuk</a:t>
            </a:r>
            <a:r>
              <a:rPr lang="en-US" dirty="0">
                <a:cs typeface="Arial"/>
              </a:rPr>
              <a:t> </a:t>
            </a:r>
            <a:r>
              <a:rPr lang="en-US" dirty="0" err="1">
                <a:cs typeface="Arial"/>
              </a:rPr>
              <a:t>waarin</a:t>
            </a:r>
            <a:r>
              <a:rPr lang="en-US" dirty="0">
                <a:cs typeface="Arial"/>
              </a:rPr>
              <a:t> de </a:t>
            </a:r>
            <a:r>
              <a:rPr lang="en-US" dirty="0" err="1">
                <a:cs typeface="Arial"/>
              </a:rPr>
              <a:t>controle</a:t>
            </a:r>
            <a:r>
              <a:rPr lang="en-US" dirty="0">
                <a:cs typeface="Arial"/>
              </a:rPr>
              <a:t> regels </a:t>
            </a:r>
            <a:r>
              <a:rPr lang="en-US" dirty="0" err="1">
                <a:cs typeface="Arial"/>
              </a:rPr>
              <a:t>genoemd</a:t>
            </a:r>
            <a:r>
              <a:rPr lang="en-US" dirty="0">
                <a:cs typeface="Arial"/>
              </a:rPr>
              <a:t> </a:t>
            </a:r>
            <a:r>
              <a:rPr lang="en-US" dirty="0" err="1">
                <a:cs typeface="Arial"/>
              </a:rPr>
              <a:t>gaan</a:t>
            </a:r>
            <a:r>
              <a:rPr lang="en-US" dirty="0">
                <a:cs typeface="Arial"/>
              </a:rPr>
              <a:t> </a:t>
            </a:r>
            <a:r>
              <a:rPr lang="en-US" dirty="0" err="1">
                <a:cs typeface="Arial"/>
              </a:rPr>
              <a:t>worden</a:t>
            </a:r>
            <a:r>
              <a:rPr lang="en-US" dirty="0">
                <a:cs typeface="Arial"/>
              </a:rPr>
              <a:t> </a:t>
            </a:r>
            <a:r>
              <a:rPr lang="en-US" dirty="0" err="1">
                <a:cs typeface="Arial"/>
              </a:rPr>
              <a:t>voor</a:t>
            </a:r>
            <a:r>
              <a:rPr lang="en-US" dirty="0">
                <a:cs typeface="Arial"/>
              </a:rPr>
              <a:t> de </a:t>
            </a:r>
            <a:r>
              <a:rPr lang="en-US" dirty="0" err="1">
                <a:cs typeface="Arial"/>
              </a:rPr>
              <a:t>controle</a:t>
            </a:r>
            <a:r>
              <a:rPr lang="en-US" dirty="0">
                <a:cs typeface="Arial"/>
              </a:rPr>
              <a:t> op de properties.</a:t>
            </a:r>
          </a:p>
          <a:p>
            <a:r>
              <a:rPr lang="en-US" dirty="0">
                <a:cs typeface="Arial"/>
              </a:rPr>
              <a:t>Regel 28: </a:t>
            </a:r>
            <a:r>
              <a:rPr lang="en-US" dirty="0" err="1">
                <a:cs typeface="Arial"/>
              </a:rPr>
              <a:t>deze</a:t>
            </a:r>
            <a:r>
              <a:rPr lang="en-US" dirty="0">
                <a:cs typeface="Arial"/>
              </a:rPr>
              <a:t> regel </a:t>
            </a:r>
            <a:r>
              <a:rPr lang="en-US" dirty="0" err="1">
                <a:cs typeface="Arial"/>
              </a:rPr>
              <a:t>geeft</a:t>
            </a:r>
            <a:r>
              <a:rPr lang="en-US" dirty="0">
                <a:cs typeface="Arial"/>
              </a:rPr>
              <a:t> </a:t>
            </a:r>
            <a:r>
              <a:rPr lang="en-US" dirty="0" err="1">
                <a:cs typeface="Arial"/>
              </a:rPr>
              <a:t>aan</a:t>
            </a:r>
            <a:r>
              <a:rPr lang="en-US" dirty="0">
                <a:cs typeface="Arial"/>
              </a:rPr>
              <a:t> </a:t>
            </a:r>
            <a:r>
              <a:rPr lang="en-US" dirty="0" err="1">
                <a:cs typeface="Arial"/>
              </a:rPr>
              <a:t>dat</a:t>
            </a:r>
            <a:r>
              <a:rPr lang="en-US" dirty="0">
                <a:cs typeface="Arial"/>
              </a:rPr>
              <a:t> de property </a:t>
            </a:r>
            <a:r>
              <a:rPr lang="en-US" dirty="0" err="1">
                <a:cs typeface="Arial"/>
              </a:rPr>
              <a:t>hasGuid</a:t>
            </a:r>
            <a:r>
              <a:rPr lang="en-US" dirty="0">
                <a:cs typeface="Arial"/>
              </a:rPr>
              <a:t> </a:t>
            </a:r>
            <a:r>
              <a:rPr lang="en-US" dirty="0" err="1">
                <a:cs typeface="Arial"/>
              </a:rPr>
              <a:t>gecontroleerd</a:t>
            </a:r>
            <a:r>
              <a:rPr lang="en-US" dirty="0">
                <a:cs typeface="Arial"/>
              </a:rPr>
              <a:t> </a:t>
            </a:r>
            <a:r>
              <a:rPr lang="en-US" dirty="0" err="1">
                <a:cs typeface="Arial"/>
              </a:rPr>
              <a:t>gaat</a:t>
            </a:r>
            <a:r>
              <a:rPr lang="en-US" dirty="0">
                <a:cs typeface="Arial"/>
              </a:rPr>
              <a:t> </a:t>
            </a:r>
            <a:r>
              <a:rPr lang="en-US" dirty="0" err="1">
                <a:cs typeface="Arial"/>
              </a:rPr>
              <a:t>worden</a:t>
            </a:r>
            <a:r>
              <a:rPr lang="en-US" dirty="0">
                <a:cs typeface="Arial"/>
              </a:rPr>
              <a:t>.</a:t>
            </a:r>
          </a:p>
          <a:p>
            <a:r>
              <a:rPr lang="en-US" dirty="0">
                <a:cs typeface="Arial"/>
              </a:rPr>
              <a:t>Regel 29: de </a:t>
            </a:r>
            <a:r>
              <a:rPr lang="en-US" dirty="0" err="1">
                <a:cs typeface="Arial"/>
              </a:rPr>
              <a:t>invulling</a:t>
            </a:r>
            <a:r>
              <a:rPr lang="en-US" dirty="0">
                <a:cs typeface="Arial"/>
              </a:rPr>
              <a:t> van </a:t>
            </a:r>
            <a:r>
              <a:rPr lang="en-US" dirty="0" err="1">
                <a:cs typeface="Arial"/>
              </a:rPr>
              <a:t>hasGuid</a:t>
            </a:r>
            <a:r>
              <a:rPr lang="en-US" dirty="0">
                <a:cs typeface="Arial"/>
              </a:rPr>
              <a:t> </a:t>
            </a:r>
            <a:r>
              <a:rPr lang="en-US" dirty="0" err="1">
                <a:cs typeface="Arial"/>
              </a:rPr>
              <a:t>dient</a:t>
            </a:r>
            <a:r>
              <a:rPr lang="en-US" dirty="0">
                <a:cs typeface="Arial"/>
              </a:rPr>
              <a:t> van datatype string </a:t>
            </a:r>
            <a:r>
              <a:rPr lang="en-US" dirty="0" err="1">
                <a:cs typeface="Arial"/>
              </a:rPr>
              <a:t>te</a:t>
            </a:r>
            <a:r>
              <a:rPr lang="en-US" dirty="0">
                <a:cs typeface="Arial"/>
              </a:rPr>
              <a:t> </a:t>
            </a:r>
            <a:r>
              <a:rPr lang="en-US" dirty="0" err="1">
                <a:cs typeface="Arial"/>
              </a:rPr>
              <a:t>zijn</a:t>
            </a:r>
            <a:r>
              <a:rPr lang="en-US" dirty="0">
                <a:cs typeface="Arial"/>
              </a:rPr>
              <a:t>.</a:t>
            </a:r>
          </a:p>
          <a:p>
            <a:r>
              <a:rPr lang="en-US" dirty="0">
                <a:cs typeface="Arial"/>
              </a:rPr>
              <a:t>Regel 30-31: de </a:t>
            </a:r>
            <a:r>
              <a:rPr lang="en-US" dirty="0" err="1">
                <a:cs typeface="Arial"/>
              </a:rPr>
              <a:t>hasGuid</a:t>
            </a:r>
            <a:r>
              <a:rPr lang="en-US" dirty="0">
                <a:cs typeface="Arial"/>
              </a:rPr>
              <a:t> property </a:t>
            </a:r>
            <a:r>
              <a:rPr lang="en-US" dirty="0" err="1">
                <a:cs typeface="Arial"/>
              </a:rPr>
              <a:t>dient</a:t>
            </a:r>
            <a:r>
              <a:rPr lang="en-US" dirty="0">
                <a:cs typeface="Arial"/>
              </a:rPr>
              <a:t> min. 1 </a:t>
            </a:r>
            <a:r>
              <a:rPr lang="en-US" dirty="0" err="1">
                <a:cs typeface="Arial"/>
              </a:rPr>
              <a:t>keer</a:t>
            </a:r>
            <a:r>
              <a:rPr lang="en-US" dirty="0">
                <a:cs typeface="Arial"/>
              </a:rPr>
              <a:t> </a:t>
            </a:r>
            <a:r>
              <a:rPr lang="en-US" dirty="0" err="1">
                <a:cs typeface="Arial"/>
              </a:rPr>
              <a:t>voor</a:t>
            </a:r>
            <a:r>
              <a:rPr lang="en-US" dirty="0">
                <a:cs typeface="Arial"/>
              </a:rPr>
              <a:t> </a:t>
            </a:r>
            <a:r>
              <a:rPr lang="en-US" dirty="0" err="1">
                <a:cs typeface="Arial"/>
              </a:rPr>
              <a:t>te</a:t>
            </a:r>
            <a:r>
              <a:rPr lang="en-US" dirty="0">
                <a:cs typeface="Arial"/>
              </a:rPr>
              <a:t> </a:t>
            </a:r>
            <a:r>
              <a:rPr lang="en-US" dirty="0" err="1">
                <a:cs typeface="Arial"/>
              </a:rPr>
              <a:t>komen</a:t>
            </a:r>
            <a:r>
              <a:rPr lang="en-US" dirty="0">
                <a:cs typeface="Arial"/>
              </a:rPr>
              <a:t> per </a:t>
            </a:r>
            <a:r>
              <a:rPr lang="en-US" dirty="0" err="1">
                <a:cs typeface="Arial"/>
              </a:rPr>
              <a:t>materiaal</a:t>
            </a:r>
            <a:r>
              <a:rPr lang="en-US" dirty="0">
                <a:cs typeface="Arial"/>
              </a:rPr>
              <a:t> </a:t>
            </a:r>
            <a:r>
              <a:rPr lang="en-US" dirty="0" err="1">
                <a:cs typeface="Arial"/>
              </a:rPr>
              <a:t>en</a:t>
            </a:r>
            <a:r>
              <a:rPr lang="en-US" dirty="0">
                <a:cs typeface="Arial"/>
              </a:rPr>
              <a:t> </a:t>
            </a:r>
            <a:r>
              <a:rPr lang="en-US" dirty="0" err="1">
                <a:cs typeface="Arial"/>
              </a:rPr>
              <a:t>maximaal</a:t>
            </a:r>
            <a:r>
              <a:rPr lang="en-US" dirty="0">
                <a:cs typeface="Arial"/>
              </a:rPr>
              <a:t> 1 </a:t>
            </a:r>
            <a:r>
              <a:rPr lang="en-US" dirty="0" err="1">
                <a:cs typeface="Arial"/>
              </a:rPr>
              <a:t>keer</a:t>
            </a:r>
            <a:r>
              <a:rPr lang="en-US" dirty="0">
                <a:cs typeface="Arial"/>
              </a:rPr>
              <a:t>.</a:t>
            </a:r>
          </a:p>
          <a:p>
            <a:r>
              <a:rPr lang="en-US" dirty="0">
                <a:cs typeface="Arial"/>
              </a:rPr>
              <a:t>Regel 32: de </a:t>
            </a:r>
            <a:r>
              <a:rPr lang="en-US" dirty="0" err="1">
                <a:cs typeface="Arial"/>
              </a:rPr>
              <a:t>invulling</a:t>
            </a:r>
            <a:r>
              <a:rPr lang="en-US" dirty="0">
                <a:cs typeface="Arial"/>
              </a:rPr>
              <a:t> van </a:t>
            </a:r>
            <a:r>
              <a:rPr lang="en-US" dirty="0" err="1">
                <a:cs typeface="Arial"/>
              </a:rPr>
              <a:t>hasGuid</a:t>
            </a:r>
            <a:r>
              <a:rPr lang="en-US" dirty="0">
                <a:cs typeface="Arial"/>
              </a:rPr>
              <a:t> property </a:t>
            </a:r>
            <a:r>
              <a:rPr lang="en-US" dirty="0" err="1">
                <a:cs typeface="Arial"/>
              </a:rPr>
              <a:t>moet</a:t>
            </a:r>
            <a:r>
              <a:rPr lang="en-US" dirty="0">
                <a:cs typeface="Arial"/>
              </a:rPr>
              <a:t> </a:t>
            </a:r>
            <a:r>
              <a:rPr lang="en-US" dirty="0" err="1">
                <a:cs typeface="Arial"/>
              </a:rPr>
              <a:t>minimaal</a:t>
            </a:r>
            <a:r>
              <a:rPr lang="en-US" dirty="0">
                <a:cs typeface="Arial"/>
              </a:rPr>
              <a:t> </a:t>
            </a:r>
            <a:r>
              <a:rPr lang="en-US" dirty="0" err="1">
                <a:cs typeface="Arial"/>
              </a:rPr>
              <a:t>bestaan</a:t>
            </a:r>
            <a:r>
              <a:rPr lang="en-US" dirty="0">
                <a:cs typeface="Arial"/>
              </a:rPr>
              <a:t> </a:t>
            </a:r>
            <a:r>
              <a:rPr lang="en-US" dirty="0" err="1">
                <a:cs typeface="Arial"/>
              </a:rPr>
              <a:t>uit</a:t>
            </a:r>
            <a:r>
              <a:rPr lang="en-US" dirty="0">
                <a:cs typeface="Arial"/>
              </a:rPr>
              <a:t> 1 </a:t>
            </a:r>
            <a:r>
              <a:rPr lang="en-US" dirty="0" err="1">
                <a:cs typeface="Arial"/>
              </a:rPr>
              <a:t>teken</a:t>
            </a:r>
            <a:r>
              <a:rPr lang="en-US" dirty="0">
                <a:cs typeface="Arial"/>
              </a:rPr>
              <a:t>. De </a:t>
            </a:r>
            <a:r>
              <a:rPr lang="en-US" dirty="0" err="1">
                <a:cs typeface="Arial"/>
              </a:rPr>
              <a:t>invulling</a:t>
            </a:r>
            <a:r>
              <a:rPr lang="en-US" dirty="0">
                <a:cs typeface="Arial"/>
              </a:rPr>
              <a:t> mag </a:t>
            </a:r>
            <a:r>
              <a:rPr lang="en-US" dirty="0" err="1">
                <a:cs typeface="Arial"/>
              </a:rPr>
              <a:t>dus</a:t>
            </a:r>
            <a:r>
              <a:rPr lang="en-US" dirty="0">
                <a:cs typeface="Arial"/>
              </a:rPr>
              <a:t> </a:t>
            </a:r>
            <a:r>
              <a:rPr lang="en-US" dirty="0" err="1">
                <a:cs typeface="Arial"/>
              </a:rPr>
              <a:t>niet</a:t>
            </a:r>
            <a:r>
              <a:rPr lang="en-US" dirty="0">
                <a:cs typeface="Arial"/>
              </a:rPr>
              <a:t> </a:t>
            </a:r>
            <a:r>
              <a:rPr lang="en-US" dirty="0" err="1">
                <a:cs typeface="Arial"/>
              </a:rPr>
              <a:t>leeg</a:t>
            </a:r>
            <a:r>
              <a:rPr lang="en-US" dirty="0">
                <a:cs typeface="Arial"/>
              </a:rPr>
              <a:t> </a:t>
            </a:r>
            <a:r>
              <a:rPr lang="en-US" dirty="0" err="1">
                <a:cs typeface="Arial"/>
              </a:rPr>
              <a:t>zijn</a:t>
            </a:r>
            <a:r>
              <a:rPr lang="en-US" dirty="0">
                <a:cs typeface="Arial"/>
              </a:rPr>
              <a:t> in de data graph</a:t>
            </a:r>
          </a:p>
          <a:p>
            <a:r>
              <a:rPr lang="en-US" dirty="0">
                <a:cs typeface="Arial"/>
              </a:rPr>
              <a:t>Regel 33: de </a:t>
            </a:r>
            <a:r>
              <a:rPr lang="en-US" dirty="0" err="1">
                <a:cs typeface="Arial"/>
              </a:rPr>
              <a:t>controle</a:t>
            </a:r>
            <a:r>
              <a:rPr lang="en-US" dirty="0">
                <a:cs typeface="Arial"/>
              </a:rPr>
              <a:t> van property </a:t>
            </a:r>
            <a:r>
              <a:rPr lang="en-US" dirty="0" err="1">
                <a:cs typeface="Arial"/>
              </a:rPr>
              <a:t>hasGuid</a:t>
            </a:r>
            <a:r>
              <a:rPr lang="en-US" dirty="0">
                <a:cs typeface="Arial"/>
              </a:rPr>
              <a:t> </a:t>
            </a:r>
            <a:r>
              <a:rPr lang="en-US" dirty="0" err="1">
                <a:cs typeface="Arial"/>
              </a:rPr>
              <a:t>wordt</a:t>
            </a:r>
            <a:r>
              <a:rPr lang="en-US" dirty="0">
                <a:cs typeface="Arial"/>
              </a:rPr>
              <a:t> </a:t>
            </a:r>
            <a:r>
              <a:rPr lang="en-US" dirty="0" err="1">
                <a:cs typeface="Arial"/>
              </a:rPr>
              <a:t>afgesloten</a:t>
            </a:r>
            <a:endParaRPr lang="en-US" dirty="0">
              <a:cs typeface="Arial"/>
            </a:endParaRPr>
          </a:p>
        </p:txBody>
      </p:sp>
      <p:sp>
        <p:nvSpPr>
          <p:cNvPr id="4" name="Content Placeholder 3">
            <a:extLst>
              <a:ext uri="{FF2B5EF4-FFF2-40B4-BE49-F238E27FC236}">
                <a16:creationId xmlns:a16="http://schemas.microsoft.com/office/drawing/2014/main" id="{962463DC-06FA-CF66-8EDA-381ED3D8C72E}"/>
              </a:ext>
            </a:extLst>
          </p:cNvPr>
          <p:cNvSpPr>
            <a:spLocks noGrp="1"/>
          </p:cNvSpPr>
          <p:nvPr>
            <p:ph sz="quarter" idx="11"/>
          </p:nvPr>
        </p:nvSpPr>
        <p:spPr/>
        <p:txBody>
          <a:bodyPr/>
          <a:lstStyle/>
          <a:p>
            <a:endParaRPr lang="en-US"/>
          </a:p>
        </p:txBody>
      </p:sp>
      <p:pic>
        <p:nvPicPr>
          <p:cNvPr id="6" name="Content Placeholder 9">
            <a:extLst>
              <a:ext uri="{FF2B5EF4-FFF2-40B4-BE49-F238E27FC236}">
                <a16:creationId xmlns:a16="http://schemas.microsoft.com/office/drawing/2014/main" id="{8036EFAF-0C10-074D-2E31-411C7397CF37}"/>
              </a:ext>
            </a:extLst>
          </p:cNvPr>
          <p:cNvPicPr>
            <a:picLocks noChangeAspect="1"/>
          </p:cNvPicPr>
          <p:nvPr/>
        </p:nvPicPr>
        <p:blipFill>
          <a:blip r:embed="rId2"/>
          <a:stretch>
            <a:fillRect/>
          </a:stretch>
        </p:blipFill>
        <p:spPr>
          <a:xfrm>
            <a:off x="6230604" y="1944572"/>
            <a:ext cx="5153991" cy="2936046"/>
          </a:xfrm>
          <a:prstGeom prst="rect">
            <a:avLst/>
          </a:prstGeom>
        </p:spPr>
      </p:pic>
      <p:sp>
        <p:nvSpPr>
          <p:cNvPr id="8" name="Ovaal 4">
            <a:extLst>
              <a:ext uri="{FF2B5EF4-FFF2-40B4-BE49-F238E27FC236}">
                <a16:creationId xmlns:a16="http://schemas.microsoft.com/office/drawing/2014/main" id="{2F86FFAE-34CB-6C31-AF96-AAC08271ED53}"/>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spTree>
    <p:extLst>
      <p:ext uri="{BB962C8B-B14F-4D97-AF65-F5344CB8AC3E}">
        <p14:creationId xmlns:p14="http://schemas.microsoft.com/office/powerpoint/2010/main" val="3284999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chterliggende stapp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576318"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e rap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Het model van het gebouw/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ophalen</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controleren</a:t>
            </a:r>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controle (SHACL) over de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apport met ontbrekende/fout ingevulde onderdelen</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Ontologie</a:t>
            </a:r>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Vormgeving</a:t>
            </a:r>
          </a:p>
        </p:txBody>
      </p:sp>
      <p:sp>
        <p:nvSpPr>
          <p:cNvPr id="11" name="Ovaal 10">
            <a:extLst>
              <a:ext uri="{FF2B5EF4-FFF2-40B4-BE49-F238E27FC236}">
                <a16:creationId xmlns:a16="http://schemas.microsoft.com/office/drawing/2014/main" id="{22F879EE-F959-C6A7-8B36-3B31B681E8CC}"/>
              </a:ext>
            </a:extLst>
          </p:cNvPr>
          <p:cNvSpPr/>
          <p:nvPr/>
        </p:nvSpPr>
        <p:spPr>
          <a:xfrm>
            <a:off x="3930655" y="1549508"/>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sp>
        <p:nvSpPr>
          <p:cNvPr id="22" name="Ovaal 21">
            <a:extLst>
              <a:ext uri="{FF2B5EF4-FFF2-40B4-BE49-F238E27FC236}">
                <a16:creationId xmlns:a16="http://schemas.microsoft.com/office/drawing/2014/main" id="{F7483C18-5AE7-8CEA-D25E-4E7609ED5586}"/>
              </a:ext>
            </a:extLst>
          </p:cNvPr>
          <p:cNvSpPr/>
          <p:nvPr/>
        </p:nvSpPr>
        <p:spPr>
          <a:xfrm>
            <a:off x="6392990" y="3472349"/>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23" name="Ovaal 22">
            <a:extLst>
              <a:ext uri="{FF2B5EF4-FFF2-40B4-BE49-F238E27FC236}">
                <a16:creationId xmlns:a16="http://schemas.microsoft.com/office/drawing/2014/main" id="{69AFC13A-FC2D-E7E6-26A9-9C6FFA586575}"/>
              </a:ext>
            </a:extLst>
          </p:cNvPr>
          <p:cNvSpPr/>
          <p:nvPr/>
        </p:nvSpPr>
        <p:spPr>
          <a:xfrm>
            <a:off x="7829870" y="2636186"/>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24" name="Ovaal 23">
            <a:extLst>
              <a:ext uri="{FF2B5EF4-FFF2-40B4-BE49-F238E27FC236}">
                <a16:creationId xmlns:a16="http://schemas.microsoft.com/office/drawing/2014/main" id="{645C96E8-2538-4493-686C-E719F28EE01A}"/>
              </a:ext>
            </a:extLst>
          </p:cNvPr>
          <p:cNvSpPr/>
          <p:nvPr/>
        </p:nvSpPr>
        <p:spPr>
          <a:xfrm>
            <a:off x="10190593" y="187587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25" name="Ovaal 24">
            <a:extLst>
              <a:ext uri="{FF2B5EF4-FFF2-40B4-BE49-F238E27FC236}">
                <a16:creationId xmlns:a16="http://schemas.microsoft.com/office/drawing/2014/main" id="{ACDDEB72-5DC4-4560-1754-86595CC6898D}"/>
              </a:ext>
            </a:extLst>
          </p:cNvPr>
          <p:cNvSpPr/>
          <p:nvPr/>
        </p:nvSpPr>
        <p:spPr>
          <a:xfrm>
            <a:off x="6206341" y="5075978"/>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5640756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8A7D5-BB93-61E0-CA60-8A29B1E426DE}"/>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DF67A198-7E9F-1D9D-BAD2-CF8869C97AAD}"/>
              </a:ext>
            </a:extLst>
          </p:cNvPr>
          <p:cNvSpPr>
            <a:spLocks noGrp="1"/>
          </p:cNvSpPr>
          <p:nvPr>
            <p:ph type="body" sz="quarter" idx="10"/>
          </p:nvPr>
        </p:nvSpPr>
        <p:spPr/>
        <p:txBody>
          <a:bodyPr lIns="0" tIns="45720" rIns="91440" bIns="45720" anchor="t"/>
          <a:lstStyle/>
          <a:p>
            <a:r>
              <a:rPr lang="en-US">
                <a:cs typeface="Arial"/>
              </a:rPr>
              <a:t>Er </a:t>
            </a:r>
            <a:r>
              <a:rPr lang="en-US" err="1">
                <a:cs typeface="Arial"/>
              </a:rPr>
              <a:t>zijn</a:t>
            </a:r>
            <a:r>
              <a:rPr lang="en-US">
                <a:cs typeface="Arial"/>
              </a:rPr>
              <a:t> </a:t>
            </a:r>
            <a:r>
              <a:rPr lang="en-US" err="1">
                <a:cs typeface="Arial"/>
              </a:rPr>
              <a:t>meerdere</a:t>
            </a:r>
            <a:r>
              <a:rPr lang="en-US">
                <a:cs typeface="Arial"/>
              </a:rPr>
              <a:t> </a:t>
            </a:r>
            <a:r>
              <a:rPr lang="en-US" err="1">
                <a:cs typeface="Arial"/>
              </a:rPr>
              <a:t>soorten</a:t>
            </a:r>
            <a:r>
              <a:rPr lang="en-US">
                <a:cs typeface="Arial"/>
              </a:rPr>
              <a:t> constraints </a:t>
            </a:r>
            <a:r>
              <a:rPr lang="en-US" err="1">
                <a:cs typeface="Arial"/>
              </a:rPr>
              <a:t>mogelijk</a:t>
            </a:r>
          </a:p>
          <a:p>
            <a:r>
              <a:rPr lang="en-US">
                <a:cs typeface="Arial"/>
              </a:rPr>
              <a:t>De </a:t>
            </a:r>
            <a:r>
              <a:rPr lang="en-US" err="1">
                <a:cs typeface="Arial"/>
              </a:rPr>
              <a:t>voorbeelden</a:t>
            </a:r>
            <a:r>
              <a:rPr lang="en-US">
                <a:cs typeface="Arial"/>
              </a:rPr>
              <a:t> </a:t>
            </a:r>
            <a:r>
              <a:rPr lang="en-US" err="1">
                <a:cs typeface="Arial"/>
              </a:rPr>
              <a:t>hiernaast</a:t>
            </a:r>
            <a:r>
              <a:rPr lang="en-US">
                <a:cs typeface="Arial"/>
              </a:rPr>
              <a:t> (</a:t>
            </a:r>
            <a:r>
              <a:rPr lang="en-US" err="1">
                <a:cs typeface="Arial"/>
              </a:rPr>
              <a:t>bovenste</a:t>
            </a:r>
            <a:r>
              <a:rPr lang="en-US">
                <a:cs typeface="Arial"/>
              </a:rPr>
              <a:t> 2) laten </a:t>
            </a:r>
            <a:r>
              <a:rPr lang="en-US" err="1">
                <a:cs typeface="Arial"/>
              </a:rPr>
              <a:t>bijvoorbeeld</a:t>
            </a:r>
            <a:r>
              <a:rPr lang="en-US">
                <a:cs typeface="Arial"/>
              </a:rPr>
              <a:t> </a:t>
            </a:r>
            <a:r>
              <a:rPr lang="en-US" err="1">
                <a:cs typeface="Arial"/>
              </a:rPr>
              <a:t>een</a:t>
            </a:r>
            <a:r>
              <a:rPr lang="en-US">
                <a:cs typeface="Arial"/>
              </a:rPr>
              <a:t> </a:t>
            </a:r>
            <a:r>
              <a:rPr lang="en-US" err="1">
                <a:cs typeface="Arial"/>
              </a:rPr>
              <a:t>controle</a:t>
            </a:r>
            <a:r>
              <a:rPr lang="en-US">
                <a:cs typeface="Arial"/>
              </a:rPr>
              <a:t> van </a:t>
            </a:r>
            <a:r>
              <a:rPr lang="en-US" err="1">
                <a:cs typeface="Arial"/>
              </a:rPr>
              <a:t>een</a:t>
            </a:r>
            <a:r>
              <a:rPr lang="en-US">
                <a:cs typeface="Arial"/>
              </a:rPr>
              <a:t> patroon </a:t>
            </a:r>
            <a:r>
              <a:rPr lang="en-US" err="1">
                <a:cs typeface="Arial"/>
              </a:rPr>
              <a:t>zien</a:t>
            </a:r>
            <a:r>
              <a:rPr lang="en-US">
                <a:cs typeface="Arial"/>
              </a:rPr>
              <a:t>. </a:t>
            </a:r>
          </a:p>
          <a:p>
            <a:r>
              <a:rPr lang="en-US">
                <a:cs typeface="Arial"/>
              </a:rPr>
              <a:t>Het </a:t>
            </a:r>
            <a:r>
              <a:rPr lang="en-US" err="1">
                <a:cs typeface="Arial"/>
              </a:rPr>
              <a:t>laatste</a:t>
            </a:r>
            <a:r>
              <a:rPr lang="en-US">
                <a:cs typeface="Arial"/>
              </a:rPr>
              <a:t> </a:t>
            </a:r>
            <a:r>
              <a:rPr lang="en-US" err="1">
                <a:cs typeface="Arial"/>
              </a:rPr>
              <a:t>voorbeeld</a:t>
            </a:r>
            <a:r>
              <a:rPr lang="en-US">
                <a:cs typeface="Arial"/>
              </a:rPr>
              <a:t> </a:t>
            </a:r>
            <a:r>
              <a:rPr lang="en-US" err="1">
                <a:cs typeface="Arial"/>
              </a:rPr>
              <a:t>laat</a:t>
            </a:r>
            <a:r>
              <a:rPr lang="en-US">
                <a:cs typeface="Arial"/>
              </a:rPr>
              <a:t> </a:t>
            </a:r>
            <a:r>
              <a:rPr lang="en-US" err="1">
                <a:cs typeface="Arial"/>
              </a:rPr>
              <a:t>zien</a:t>
            </a:r>
            <a:r>
              <a:rPr lang="en-US">
                <a:cs typeface="Arial"/>
              </a:rPr>
              <a:t> </a:t>
            </a:r>
            <a:r>
              <a:rPr lang="en-US" err="1">
                <a:cs typeface="Arial"/>
              </a:rPr>
              <a:t>dat</a:t>
            </a:r>
            <a:r>
              <a:rPr lang="en-US">
                <a:cs typeface="Arial"/>
              </a:rPr>
              <a:t> de property </a:t>
            </a:r>
            <a:r>
              <a:rPr lang="en-US" err="1">
                <a:cs typeface="Arial"/>
              </a:rPr>
              <a:t>reusabilityPotential</a:t>
            </a:r>
            <a:r>
              <a:rPr lang="en-US">
                <a:cs typeface="Arial"/>
              </a:rPr>
              <a:t> </a:t>
            </a:r>
            <a:r>
              <a:rPr lang="en-US" err="1">
                <a:cs typeface="Arial"/>
              </a:rPr>
              <a:t>minimaal</a:t>
            </a:r>
            <a:r>
              <a:rPr lang="en-US">
                <a:cs typeface="Arial"/>
              </a:rPr>
              <a:t> </a:t>
            </a:r>
            <a:r>
              <a:rPr lang="en-US" err="1">
                <a:cs typeface="Arial"/>
              </a:rPr>
              <a:t>als</a:t>
            </a:r>
            <a:r>
              <a:rPr lang="en-US">
                <a:cs typeface="Arial"/>
              </a:rPr>
              <a:t> </a:t>
            </a:r>
            <a:r>
              <a:rPr lang="en-US" err="1">
                <a:cs typeface="Arial"/>
              </a:rPr>
              <a:t>invulling</a:t>
            </a:r>
            <a:r>
              <a:rPr lang="en-US">
                <a:cs typeface="Arial"/>
              </a:rPr>
              <a:t> 1 </a:t>
            </a:r>
            <a:r>
              <a:rPr lang="en-US" err="1">
                <a:cs typeface="Arial"/>
              </a:rPr>
              <a:t>moet</a:t>
            </a:r>
            <a:r>
              <a:rPr lang="en-US">
                <a:cs typeface="Arial"/>
              </a:rPr>
              <a:t> </a:t>
            </a:r>
            <a:r>
              <a:rPr lang="en-US" err="1">
                <a:cs typeface="Arial"/>
              </a:rPr>
              <a:t>hebben</a:t>
            </a:r>
            <a:r>
              <a:rPr lang="en-US">
                <a:cs typeface="Arial"/>
              </a:rPr>
              <a:t>. </a:t>
            </a:r>
            <a:r>
              <a:rPr lang="en-US" err="1">
                <a:cs typeface="Arial"/>
              </a:rPr>
              <a:t>Indien</a:t>
            </a:r>
            <a:r>
              <a:rPr lang="en-US">
                <a:cs typeface="Arial"/>
              </a:rPr>
              <a:t> de </a:t>
            </a:r>
            <a:r>
              <a:rPr lang="en-US" err="1">
                <a:cs typeface="Arial"/>
              </a:rPr>
              <a:t>invulling</a:t>
            </a:r>
            <a:r>
              <a:rPr lang="en-US">
                <a:cs typeface="Arial"/>
              </a:rPr>
              <a:t> van de data lager is dan 1, </a:t>
            </a:r>
            <a:r>
              <a:rPr lang="en-US" err="1">
                <a:cs typeface="Arial"/>
              </a:rPr>
              <a:t>zal</a:t>
            </a:r>
            <a:r>
              <a:rPr lang="en-US">
                <a:cs typeface="Arial"/>
              </a:rPr>
              <a:t> </a:t>
            </a:r>
            <a:r>
              <a:rPr lang="en-US" err="1">
                <a:cs typeface="Arial"/>
              </a:rPr>
              <a:t>deze</a:t>
            </a:r>
            <a:r>
              <a:rPr lang="en-US">
                <a:cs typeface="Arial"/>
              </a:rPr>
              <a:t> </a:t>
            </a:r>
            <a:r>
              <a:rPr lang="en-US" err="1">
                <a:cs typeface="Arial"/>
              </a:rPr>
              <a:t>tussen</a:t>
            </a:r>
            <a:r>
              <a:rPr lang="en-US">
                <a:cs typeface="Arial"/>
              </a:rPr>
              <a:t> de </a:t>
            </a:r>
            <a:r>
              <a:rPr lang="en-US" err="1">
                <a:cs typeface="Arial"/>
              </a:rPr>
              <a:t>foutmeldingen</a:t>
            </a:r>
            <a:r>
              <a:rPr lang="en-US">
                <a:cs typeface="Arial"/>
              </a:rPr>
              <a:t> </a:t>
            </a:r>
            <a:r>
              <a:rPr lang="en-US" err="1">
                <a:cs typeface="Arial"/>
              </a:rPr>
              <a:t>komen</a:t>
            </a:r>
            <a:r>
              <a:rPr lang="en-US">
                <a:cs typeface="Arial"/>
              </a:rPr>
              <a:t> </a:t>
            </a:r>
            <a:r>
              <a:rPr lang="en-US" err="1">
                <a:cs typeface="Arial"/>
              </a:rPr>
              <a:t>te</a:t>
            </a:r>
            <a:r>
              <a:rPr lang="en-US">
                <a:cs typeface="Arial"/>
              </a:rPr>
              <a:t> </a:t>
            </a:r>
            <a:r>
              <a:rPr lang="en-US" err="1">
                <a:cs typeface="Arial"/>
              </a:rPr>
              <a:t>staan</a:t>
            </a:r>
            <a:r>
              <a:rPr lang="en-US">
                <a:cs typeface="Arial"/>
              </a:rPr>
              <a:t>. </a:t>
            </a:r>
          </a:p>
        </p:txBody>
      </p:sp>
      <p:pic>
        <p:nvPicPr>
          <p:cNvPr id="5" name="Content Placeholder 4">
            <a:extLst>
              <a:ext uri="{FF2B5EF4-FFF2-40B4-BE49-F238E27FC236}">
                <a16:creationId xmlns:a16="http://schemas.microsoft.com/office/drawing/2014/main" id="{E9776D92-D0D4-0906-F4EA-17F4B89016A0}"/>
              </a:ext>
            </a:extLst>
          </p:cNvPr>
          <p:cNvPicPr>
            <a:picLocks noGrp="1" noChangeAspect="1"/>
          </p:cNvPicPr>
          <p:nvPr>
            <p:ph sz="quarter" idx="11"/>
          </p:nvPr>
        </p:nvPicPr>
        <p:blipFill>
          <a:blip r:embed="rId2"/>
          <a:stretch>
            <a:fillRect/>
          </a:stretch>
        </p:blipFill>
        <p:spPr>
          <a:xfrm>
            <a:off x="5637062" y="1237134"/>
            <a:ext cx="6437312" cy="1312391"/>
          </a:xfrm>
        </p:spPr>
      </p:pic>
      <p:pic>
        <p:nvPicPr>
          <p:cNvPr id="6" name="Picture 5">
            <a:extLst>
              <a:ext uri="{FF2B5EF4-FFF2-40B4-BE49-F238E27FC236}">
                <a16:creationId xmlns:a16="http://schemas.microsoft.com/office/drawing/2014/main" id="{7EB2F373-4D6E-B9AC-A114-6DE0B7AC405D}"/>
              </a:ext>
            </a:extLst>
          </p:cNvPr>
          <p:cNvPicPr>
            <a:picLocks noChangeAspect="1"/>
          </p:cNvPicPr>
          <p:nvPr/>
        </p:nvPicPr>
        <p:blipFill>
          <a:blip r:embed="rId3"/>
          <a:stretch>
            <a:fillRect/>
          </a:stretch>
        </p:blipFill>
        <p:spPr>
          <a:xfrm>
            <a:off x="5623908" y="2703060"/>
            <a:ext cx="6435423" cy="1415597"/>
          </a:xfrm>
          <a:prstGeom prst="rect">
            <a:avLst/>
          </a:prstGeom>
        </p:spPr>
      </p:pic>
      <p:pic>
        <p:nvPicPr>
          <p:cNvPr id="7" name="Picture 6">
            <a:extLst>
              <a:ext uri="{FF2B5EF4-FFF2-40B4-BE49-F238E27FC236}">
                <a16:creationId xmlns:a16="http://schemas.microsoft.com/office/drawing/2014/main" id="{96BF7319-D546-3CAD-B32E-B27B281B4F64}"/>
              </a:ext>
            </a:extLst>
          </p:cNvPr>
          <p:cNvPicPr>
            <a:picLocks noChangeAspect="1"/>
          </p:cNvPicPr>
          <p:nvPr/>
        </p:nvPicPr>
        <p:blipFill>
          <a:blip r:embed="rId4"/>
          <a:stretch>
            <a:fillRect/>
          </a:stretch>
        </p:blipFill>
        <p:spPr>
          <a:xfrm>
            <a:off x="5618162" y="4284965"/>
            <a:ext cx="5733295" cy="1819880"/>
          </a:xfrm>
          <a:prstGeom prst="rect">
            <a:avLst/>
          </a:prstGeom>
        </p:spPr>
      </p:pic>
      <p:sp>
        <p:nvSpPr>
          <p:cNvPr id="9" name="Ovaal 4">
            <a:extLst>
              <a:ext uri="{FF2B5EF4-FFF2-40B4-BE49-F238E27FC236}">
                <a16:creationId xmlns:a16="http://schemas.microsoft.com/office/drawing/2014/main" id="{D374BFE8-00F6-9870-D7DA-F16398F99223}"/>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spTree>
    <p:extLst>
      <p:ext uri="{BB962C8B-B14F-4D97-AF65-F5344CB8AC3E}">
        <p14:creationId xmlns:p14="http://schemas.microsoft.com/office/powerpoint/2010/main" val="35053888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B6E2B-A8DF-E605-8681-71C1C71C2B8B}"/>
              </a:ext>
            </a:extLst>
          </p:cNvPr>
          <p:cNvSpPr>
            <a:spLocks noGrp="1"/>
          </p:cNvSpPr>
          <p:nvPr>
            <p:ph type="title"/>
          </p:nvPr>
        </p:nvSpPr>
        <p:spPr/>
        <p:txBody>
          <a:bodyPr vert="horz" lIns="0" tIns="45720" rIns="91440" bIns="45720" anchor="t"/>
          <a:lstStyle/>
          <a:p>
            <a:r>
              <a:rPr lang="en-US">
                <a:cs typeface="Arial"/>
              </a:rPr>
              <a:t>SHACL</a:t>
            </a:r>
            <a:endParaRPr lang="en-US"/>
          </a:p>
        </p:txBody>
      </p:sp>
      <p:sp>
        <p:nvSpPr>
          <p:cNvPr id="3" name="Text Placeholder 2">
            <a:extLst>
              <a:ext uri="{FF2B5EF4-FFF2-40B4-BE49-F238E27FC236}">
                <a16:creationId xmlns:a16="http://schemas.microsoft.com/office/drawing/2014/main" id="{0F10632D-C575-7819-FA11-9A8714E0A60C}"/>
              </a:ext>
            </a:extLst>
          </p:cNvPr>
          <p:cNvSpPr>
            <a:spLocks noGrp="1"/>
          </p:cNvSpPr>
          <p:nvPr>
            <p:ph type="body" sz="quarter" idx="10"/>
          </p:nvPr>
        </p:nvSpPr>
        <p:spPr/>
        <p:txBody>
          <a:bodyPr lIns="0" tIns="45720" rIns="91440" bIns="45720" anchor="t"/>
          <a:lstStyle/>
          <a:p>
            <a:r>
              <a:rPr lang="en-US">
                <a:cs typeface="Arial"/>
              </a:rPr>
              <a:t>Wil je de </a:t>
            </a:r>
            <a:r>
              <a:rPr lang="en-US" err="1">
                <a:cs typeface="Arial"/>
              </a:rPr>
              <a:t>gemaakte</a:t>
            </a:r>
            <a:r>
              <a:rPr lang="en-US">
                <a:cs typeface="Arial"/>
              </a:rPr>
              <a:t> SHACL </a:t>
            </a:r>
            <a:r>
              <a:rPr lang="en-US" err="1">
                <a:cs typeface="Arial"/>
              </a:rPr>
              <a:t>testen</a:t>
            </a:r>
            <a:r>
              <a:rPr lang="en-US">
                <a:cs typeface="Arial"/>
              </a:rPr>
              <a:t> dan </a:t>
            </a:r>
            <a:r>
              <a:rPr lang="en-US" err="1">
                <a:cs typeface="Arial"/>
              </a:rPr>
              <a:t>kan</a:t>
            </a:r>
            <a:r>
              <a:rPr lang="en-US">
                <a:cs typeface="Arial"/>
              </a:rPr>
              <a:t> </a:t>
            </a:r>
            <a:r>
              <a:rPr lang="en-US" err="1">
                <a:cs typeface="Arial"/>
              </a:rPr>
              <a:t>dit</a:t>
            </a:r>
            <a:r>
              <a:rPr lang="en-US">
                <a:cs typeface="Arial"/>
              </a:rPr>
              <a:t> door de playground </a:t>
            </a:r>
            <a:r>
              <a:rPr lang="en-US" err="1">
                <a:cs typeface="Arial"/>
              </a:rPr>
              <a:t>te</a:t>
            </a:r>
            <a:r>
              <a:rPr lang="en-US">
                <a:cs typeface="Arial"/>
              </a:rPr>
              <a:t> </a:t>
            </a:r>
            <a:r>
              <a:rPr lang="en-US" err="1">
                <a:cs typeface="Arial"/>
              </a:rPr>
              <a:t>gebruiken</a:t>
            </a:r>
            <a:r>
              <a:rPr lang="en-US">
                <a:cs typeface="Arial"/>
              </a:rPr>
              <a:t> (</a:t>
            </a:r>
            <a:r>
              <a:rPr lang="en-US" err="1">
                <a:cs typeface="Arial"/>
              </a:rPr>
              <a:t>zie</a:t>
            </a:r>
            <a:r>
              <a:rPr lang="en-US">
                <a:cs typeface="Arial"/>
              </a:rPr>
              <a:t> </a:t>
            </a:r>
            <a:r>
              <a:rPr lang="en-US" err="1">
                <a:cs typeface="Arial"/>
              </a:rPr>
              <a:t>dia</a:t>
            </a:r>
            <a:r>
              <a:rPr lang="en-US">
                <a:cs typeface="Arial"/>
              </a:rPr>
              <a:t> 27). </a:t>
            </a:r>
          </a:p>
          <a:p>
            <a:r>
              <a:rPr lang="en-US" err="1">
                <a:cs typeface="Arial"/>
              </a:rPr>
              <a:t>Wanneer</a:t>
            </a:r>
            <a:r>
              <a:rPr lang="en-US">
                <a:cs typeface="Arial"/>
              </a:rPr>
              <a:t> je </a:t>
            </a:r>
            <a:r>
              <a:rPr lang="en-US" err="1">
                <a:cs typeface="Arial"/>
              </a:rPr>
              <a:t>aanpassingen</a:t>
            </a:r>
            <a:r>
              <a:rPr lang="en-US">
                <a:cs typeface="Arial"/>
              </a:rPr>
              <a:t> </a:t>
            </a:r>
            <a:r>
              <a:rPr lang="en-US" err="1">
                <a:cs typeface="Arial"/>
              </a:rPr>
              <a:t>maakt</a:t>
            </a:r>
            <a:r>
              <a:rPr lang="en-US">
                <a:cs typeface="Arial"/>
              </a:rPr>
              <a:t> in de DPP SHACL </a:t>
            </a:r>
            <a:r>
              <a:rPr lang="en-US" err="1">
                <a:cs typeface="Arial"/>
              </a:rPr>
              <a:t>kan</a:t>
            </a:r>
            <a:r>
              <a:rPr lang="en-US">
                <a:cs typeface="Arial"/>
              </a:rPr>
              <a:t> </a:t>
            </a:r>
            <a:r>
              <a:rPr lang="en-US" err="1">
                <a:cs typeface="Arial"/>
              </a:rPr>
              <a:t>deze</a:t>
            </a:r>
            <a:r>
              <a:rPr lang="en-US">
                <a:cs typeface="Arial"/>
              </a:rPr>
              <a:t> </a:t>
            </a:r>
            <a:r>
              <a:rPr lang="en-US" err="1">
                <a:cs typeface="Arial"/>
              </a:rPr>
              <a:t>getest</a:t>
            </a:r>
            <a:r>
              <a:rPr lang="en-US">
                <a:cs typeface="Arial"/>
              </a:rPr>
              <a:t> </a:t>
            </a:r>
            <a:r>
              <a:rPr lang="en-US" err="1">
                <a:cs typeface="Arial"/>
              </a:rPr>
              <a:t>worden</a:t>
            </a:r>
            <a:r>
              <a:rPr lang="en-US">
                <a:cs typeface="Arial"/>
              </a:rPr>
              <a:t> met het </a:t>
            </a:r>
            <a:r>
              <a:rPr lang="en-US" err="1">
                <a:cs typeface="Arial"/>
              </a:rPr>
              <a:t>gebruik</a:t>
            </a:r>
            <a:r>
              <a:rPr lang="en-US">
                <a:cs typeface="Arial"/>
              </a:rPr>
              <a:t> van de </a:t>
            </a:r>
            <a:r>
              <a:rPr lang="en-US" err="1">
                <a:cs typeface="Arial"/>
              </a:rPr>
              <a:t>pySHACL</a:t>
            </a:r>
            <a:r>
              <a:rPr lang="en-US">
                <a:cs typeface="Arial"/>
              </a:rPr>
              <a:t> code </a:t>
            </a:r>
            <a:r>
              <a:rPr lang="en-US" err="1">
                <a:cs typeface="Arial"/>
              </a:rPr>
              <a:t>en</a:t>
            </a:r>
            <a:r>
              <a:rPr lang="en-US">
                <a:cs typeface="Arial"/>
              </a:rPr>
              <a:t> </a:t>
            </a:r>
            <a:r>
              <a:rPr lang="en-US" err="1">
                <a:cs typeface="Arial"/>
              </a:rPr>
              <a:t>eerder</a:t>
            </a:r>
            <a:r>
              <a:rPr lang="en-US">
                <a:cs typeface="Arial"/>
              </a:rPr>
              <a:t> </a:t>
            </a:r>
            <a:r>
              <a:rPr lang="en-US" err="1">
                <a:cs typeface="Arial"/>
              </a:rPr>
              <a:t>benoemde</a:t>
            </a:r>
            <a:r>
              <a:rPr lang="en-US">
                <a:cs typeface="Arial"/>
              </a:rPr>
              <a:t> RDF </a:t>
            </a:r>
            <a:r>
              <a:rPr lang="en-US" err="1">
                <a:cs typeface="Arial"/>
              </a:rPr>
              <a:t>bestanden</a:t>
            </a:r>
            <a:r>
              <a:rPr lang="en-US">
                <a:cs typeface="Arial"/>
              </a:rPr>
              <a:t>. </a:t>
            </a:r>
            <a:r>
              <a:rPr lang="en-US" err="1">
                <a:cs typeface="Arial"/>
              </a:rPr>
              <a:t>Deze</a:t>
            </a:r>
            <a:r>
              <a:rPr lang="en-US">
                <a:cs typeface="Arial"/>
              </a:rPr>
              <a:t> </a:t>
            </a:r>
            <a:r>
              <a:rPr lang="en-US" err="1">
                <a:cs typeface="Arial"/>
              </a:rPr>
              <a:t>zijn</a:t>
            </a:r>
            <a:r>
              <a:rPr lang="en-US">
                <a:cs typeface="Arial"/>
              </a:rPr>
              <a:t> </a:t>
            </a:r>
            <a:r>
              <a:rPr lang="en-US" err="1">
                <a:cs typeface="Arial"/>
              </a:rPr>
              <a:t>beschikbaar</a:t>
            </a:r>
            <a:r>
              <a:rPr lang="en-US">
                <a:cs typeface="Arial"/>
              </a:rPr>
              <a:t> in de </a:t>
            </a:r>
            <a:r>
              <a:rPr lang="en-US" err="1">
                <a:cs typeface="Arial"/>
              </a:rPr>
              <a:t>github</a:t>
            </a:r>
            <a:r>
              <a:rPr lang="en-US">
                <a:cs typeface="Arial"/>
              </a:rPr>
              <a:t> (het </a:t>
            </a:r>
            <a:r>
              <a:rPr lang="en-US" err="1">
                <a:cs typeface="Arial"/>
              </a:rPr>
              <a:t>pySHACL</a:t>
            </a:r>
            <a:r>
              <a:rPr lang="en-US">
                <a:cs typeface="Arial"/>
              </a:rPr>
              <a:t> script </a:t>
            </a:r>
            <a:r>
              <a:rPr lang="en-US" err="1">
                <a:cs typeface="Arial"/>
              </a:rPr>
              <a:t>wordt</a:t>
            </a:r>
            <a:r>
              <a:rPr lang="en-US">
                <a:cs typeface="Arial"/>
              </a:rPr>
              <a:t> </a:t>
            </a:r>
            <a:r>
              <a:rPr lang="en-US" err="1">
                <a:cs typeface="Arial"/>
              </a:rPr>
              <a:t>ook</a:t>
            </a:r>
            <a:r>
              <a:rPr lang="en-US">
                <a:cs typeface="Arial"/>
              </a:rPr>
              <a:t> </a:t>
            </a:r>
            <a:r>
              <a:rPr lang="en-US" err="1">
                <a:cs typeface="Arial"/>
              </a:rPr>
              <a:t>vanaf</a:t>
            </a:r>
            <a:r>
              <a:rPr lang="en-US">
                <a:cs typeface="Arial"/>
              </a:rPr>
              <a:t> </a:t>
            </a:r>
            <a:r>
              <a:rPr lang="en-US" err="1">
                <a:cs typeface="Arial"/>
              </a:rPr>
              <a:t>dia</a:t>
            </a:r>
            <a:r>
              <a:rPr lang="en-US">
                <a:cs typeface="Arial"/>
              </a:rPr>
              <a:t> 14 </a:t>
            </a:r>
            <a:r>
              <a:rPr lang="en-US" err="1">
                <a:cs typeface="Arial"/>
              </a:rPr>
              <a:t>benoemd</a:t>
            </a:r>
            <a:r>
              <a:rPr lang="en-US">
                <a:cs typeface="Arial"/>
              </a:rPr>
              <a:t>).</a:t>
            </a:r>
          </a:p>
          <a:p>
            <a:r>
              <a:rPr lang="en-US">
                <a:cs typeface="Arial"/>
              </a:rPr>
              <a:t>Wederom </a:t>
            </a:r>
            <a:r>
              <a:rPr lang="en-US" err="1">
                <a:cs typeface="Arial"/>
              </a:rPr>
              <a:t>als</a:t>
            </a:r>
            <a:r>
              <a:rPr lang="en-US">
                <a:cs typeface="Arial"/>
              </a:rPr>
              <a:t> je er </a:t>
            </a:r>
            <a:r>
              <a:rPr lang="en-US" err="1">
                <a:cs typeface="Arial"/>
              </a:rPr>
              <a:t>niet</a:t>
            </a:r>
            <a:r>
              <a:rPr lang="en-US">
                <a:cs typeface="Arial"/>
              </a:rPr>
              <a:t> </a:t>
            </a:r>
            <a:r>
              <a:rPr lang="en-US" err="1">
                <a:cs typeface="Arial"/>
              </a:rPr>
              <a:t>uit</a:t>
            </a:r>
            <a:r>
              <a:rPr lang="en-US">
                <a:cs typeface="Arial"/>
              </a:rPr>
              <a:t> </a:t>
            </a:r>
            <a:r>
              <a:rPr lang="en-US" err="1">
                <a:cs typeface="Arial"/>
              </a:rPr>
              <a:t>komt</a:t>
            </a:r>
            <a:r>
              <a:rPr lang="en-US">
                <a:cs typeface="Arial"/>
              </a:rPr>
              <a:t> of het </a:t>
            </a:r>
            <a:r>
              <a:rPr lang="en-US" err="1">
                <a:cs typeface="Arial"/>
              </a:rPr>
              <a:t>lastig</a:t>
            </a:r>
            <a:r>
              <a:rPr lang="en-US">
                <a:cs typeface="Arial"/>
              </a:rPr>
              <a:t> </a:t>
            </a:r>
            <a:r>
              <a:rPr lang="en-US" err="1">
                <a:cs typeface="Arial"/>
              </a:rPr>
              <a:t>vindt</a:t>
            </a:r>
            <a:r>
              <a:rPr lang="en-US">
                <a:cs typeface="Arial"/>
              </a:rPr>
              <a:t> </a:t>
            </a:r>
            <a:r>
              <a:rPr lang="en-US" err="1">
                <a:cs typeface="Arial"/>
              </a:rPr>
              <a:t>voorbeelden</a:t>
            </a:r>
            <a:r>
              <a:rPr lang="en-US">
                <a:cs typeface="Arial"/>
              </a:rPr>
              <a:t> </a:t>
            </a:r>
            <a:r>
              <a:rPr lang="en-US" err="1">
                <a:cs typeface="Arial"/>
              </a:rPr>
              <a:t>te</a:t>
            </a:r>
            <a:r>
              <a:rPr lang="en-US">
                <a:cs typeface="Arial"/>
              </a:rPr>
              <a:t> </a:t>
            </a:r>
            <a:r>
              <a:rPr lang="en-US" err="1">
                <a:cs typeface="Arial"/>
              </a:rPr>
              <a:t>bedenken</a:t>
            </a:r>
            <a:r>
              <a:rPr lang="en-US">
                <a:cs typeface="Arial"/>
              </a:rPr>
              <a:t>: </a:t>
            </a:r>
            <a:r>
              <a:rPr lang="en-US" err="1">
                <a:cs typeface="Arial"/>
              </a:rPr>
              <a:t>chatgpt</a:t>
            </a:r>
            <a:r>
              <a:rPr lang="en-US">
                <a:cs typeface="Arial"/>
              </a:rPr>
              <a:t> </a:t>
            </a:r>
            <a:r>
              <a:rPr lang="en-US" err="1">
                <a:cs typeface="Arial"/>
              </a:rPr>
              <a:t>kan</a:t>
            </a:r>
            <a:r>
              <a:rPr lang="en-US">
                <a:cs typeface="Arial"/>
              </a:rPr>
              <a:t> </a:t>
            </a:r>
            <a:r>
              <a:rPr lang="en-US" err="1">
                <a:cs typeface="Arial"/>
              </a:rPr>
              <a:t>helpen</a:t>
            </a:r>
            <a:r>
              <a:rPr lang="en-US">
                <a:cs typeface="Arial"/>
              </a:rPr>
              <a:t>. </a:t>
            </a:r>
            <a:r>
              <a:rPr lang="en-US" err="1">
                <a:cs typeface="Arial"/>
              </a:rPr>
              <a:t>Deze</a:t>
            </a:r>
            <a:r>
              <a:rPr lang="en-US">
                <a:cs typeface="Arial"/>
              </a:rPr>
              <a:t> </a:t>
            </a:r>
            <a:r>
              <a:rPr lang="en-US" err="1">
                <a:cs typeface="Arial"/>
              </a:rPr>
              <a:t>werkt</a:t>
            </a:r>
            <a:r>
              <a:rPr lang="en-US">
                <a:cs typeface="Arial"/>
              </a:rPr>
              <a:t> </a:t>
            </a:r>
            <a:r>
              <a:rPr lang="en-US" err="1">
                <a:cs typeface="Arial"/>
              </a:rPr>
              <a:t>niet</a:t>
            </a:r>
            <a:r>
              <a:rPr lang="en-US">
                <a:cs typeface="Arial"/>
              </a:rPr>
              <a:t> perfect </a:t>
            </a:r>
            <a:r>
              <a:rPr lang="en-US" err="1">
                <a:cs typeface="Arial"/>
              </a:rPr>
              <a:t>voor</a:t>
            </a:r>
            <a:r>
              <a:rPr lang="en-US">
                <a:cs typeface="Arial"/>
              </a:rPr>
              <a:t> SHACL, maar </a:t>
            </a:r>
            <a:r>
              <a:rPr lang="en-US" err="1">
                <a:cs typeface="Arial"/>
              </a:rPr>
              <a:t>kan</a:t>
            </a:r>
            <a:r>
              <a:rPr lang="en-US">
                <a:cs typeface="Arial"/>
              </a:rPr>
              <a:t> </a:t>
            </a:r>
            <a:r>
              <a:rPr lang="en-US" err="1">
                <a:cs typeface="Arial"/>
              </a:rPr>
              <a:t>wel</a:t>
            </a:r>
            <a:r>
              <a:rPr lang="en-US">
                <a:cs typeface="Arial"/>
              </a:rPr>
              <a:t> </a:t>
            </a:r>
            <a:r>
              <a:rPr lang="en-US" err="1">
                <a:cs typeface="Arial"/>
              </a:rPr>
              <a:t>helpen</a:t>
            </a:r>
            <a:r>
              <a:rPr lang="en-US">
                <a:cs typeface="Arial"/>
              </a:rPr>
              <a:t> met de basis </a:t>
            </a:r>
            <a:r>
              <a:rPr lang="en-US" err="1">
                <a:cs typeface="Arial"/>
              </a:rPr>
              <a:t>te</a:t>
            </a:r>
            <a:r>
              <a:rPr lang="en-US">
                <a:cs typeface="Arial"/>
              </a:rPr>
              <a:t> </a:t>
            </a:r>
            <a:r>
              <a:rPr lang="en-US" err="1">
                <a:cs typeface="Arial"/>
              </a:rPr>
              <a:t>begrijpen</a:t>
            </a:r>
            <a:r>
              <a:rPr lang="en-US">
                <a:cs typeface="Arial"/>
              </a:rPr>
              <a:t> </a:t>
            </a:r>
            <a:r>
              <a:rPr lang="en-US" err="1">
                <a:cs typeface="Arial"/>
              </a:rPr>
              <a:t>en</a:t>
            </a:r>
            <a:r>
              <a:rPr lang="en-US">
                <a:cs typeface="Arial"/>
              </a:rPr>
              <a:t> toe </a:t>
            </a:r>
            <a:r>
              <a:rPr lang="en-US" err="1">
                <a:cs typeface="Arial"/>
              </a:rPr>
              <a:t>te</a:t>
            </a:r>
            <a:r>
              <a:rPr lang="en-US">
                <a:cs typeface="Arial"/>
              </a:rPr>
              <a:t> </a:t>
            </a:r>
            <a:r>
              <a:rPr lang="en-US" err="1">
                <a:cs typeface="Arial"/>
              </a:rPr>
              <a:t>passen</a:t>
            </a:r>
            <a:r>
              <a:rPr lang="en-US">
                <a:cs typeface="Arial"/>
              </a:rPr>
              <a:t>.</a:t>
            </a:r>
          </a:p>
        </p:txBody>
      </p:sp>
      <p:sp>
        <p:nvSpPr>
          <p:cNvPr id="4" name="Content Placeholder 3">
            <a:extLst>
              <a:ext uri="{FF2B5EF4-FFF2-40B4-BE49-F238E27FC236}">
                <a16:creationId xmlns:a16="http://schemas.microsoft.com/office/drawing/2014/main" id="{EE78D82E-F28D-4E00-7D37-E52161F2EAD2}"/>
              </a:ext>
            </a:extLst>
          </p:cNvPr>
          <p:cNvSpPr>
            <a:spLocks noGrp="1"/>
          </p:cNvSpPr>
          <p:nvPr>
            <p:ph sz="quarter" idx="11"/>
          </p:nvPr>
        </p:nvSpPr>
        <p:spPr/>
        <p:txBody>
          <a:bodyPr/>
          <a:lstStyle/>
          <a:p>
            <a:endParaRPr lang="en-US"/>
          </a:p>
        </p:txBody>
      </p:sp>
      <p:sp>
        <p:nvSpPr>
          <p:cNvPr id="6" name="Ovaal 4">
            <a:extLst>
              <a:ext uri="{FF2B5EF4-FFF2-40B4-BE49-F238E27FC236}">
                <a16:creationId xmlns:a16="http://schemas.microsoft.com/office/drawing/2014/main" id="{5A759A80-9FAB-8787-C7B4-60483B1607D5}"/>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a:cs typeface="Arial"/>
              </a:rPr>
              <a:t>6</a:t>
            </a:r>
          </a:p>
        </p:txBody>
      </p:sp>
    </p:spTree>
    <p:extLst>
      <p:ext uri="{BB962C8B-B14F-4D97-AF65-F5344CB8AC3E}">
        <p14:creationId xmlns:p14="http://schemas.microsoft.com/office/powerpoint/2010/main" val="40709609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D0743-91E8-4AF2-F40F-F57158032BB4}"/>
              </a:ext>
            </a:extLst>
          </p:cNvPr>
          <p:cNvSpPr>
            <a:spLocks noGrp="1"/>
          </p:cNvSpPr>
          <p:nvPr>
            <p:ph type="title"/>
          </p:nvPr>
        </p:nvSpPr>
        <p:spPr/>
        <p:txBody>
          <a:bodyPr vert="horz" lIns="0" tIns="45720" rIns="91440" bIns="45720" anchor="t"/>
          <a:lstStyle/>
          <a:p>
            <a:r>
              <a:rPr lang="en-US">
                <a:cs typeface="Arial"/>
              </a:rPr>
              <a:t>Succes met het </a:t>
            </a:r>
            <a:r>
              <a:rPr lang="en-US" err="1">
                <a:cs typeface="Arial"/>
              </a:rPr>
              <a:t>kennis</a:t>
            </a:r>
            <a:r>
              <a:rPr lang="en-US">
                <a:cs typeface="Arial"/>
              </a:rPr>
              <a:t> </a:t>
            </a:r>
            <a:r>
              <a:rPr lang="en-US" err="1">
                <a:cs typeface="Arial"/>
              </a:rPr>
              <a:t>maken</a:t>
            </a:r>
            <a:r>
              <a:rPr lang="en-US">
                <a:cs typeface="Arial"/>
              </a:rPr>
              <a:t> van het </a:t>
            </a:r>
            <a:r>
              <a:rPr lang="en-US" err="1">
                <a:cs typeface="Arial"/>
              </a:rPr>
              <a:t>validatieproces</a:t>
            </a:r>
            <a:r>
              <a:rPr lang="en-US">
                <a:cs typeface="Arial"/>
              </a:rPr>
              <a:t>!</a:t>
            </a:r>
            <a:endParaRPr lang="en-US"/>
          </a:p>
        </p:txBody>
      </p:sp>
      <p:sp>
        <p:nvSpPr>
          <p:cNvPr id="3" name="Text Placeholder 2">
            <a:extLst>
              <a:ext uri="{FF2B5EF4-FFF2-40B4-BE49-F238E27FC236}">
                <a16:creationId xmlns:a16="http://schemas.microsoft.com/office/drawing/2014/main" id="{B570A285-2A37-5DE7-BA82-171342504D02}"/>
              </a:ext>
            </a:extLst>
          </p:cNvPr>
          <p:cNvSpPr>
            <a:spLocks noGrp="1"/>
          </p:cNvSpPr>
          <p:nvPr>
            <p:ph type="body" sz="quarter" idx="10"/>
          </p:nvPr>
        </p:nvSpPr>
        <p:spPr/>
        <p:txBody>
          <a:bodyPr lIns="0" tIns="45720" rIns="91440" bIns="45720" anchor="t"/>
          <a:lstStyle/>
          <a:p>
            <a:r>
              <a:rPr lang="en-US">
                <a:cs typeface="Arial"/>
              </a:rPr>
              <a:t>Succes </a:t>
            </a:r>
            <a:r>
              <a:rPr lang="en-US" err="1">
                <a:cs typeface="Arial"/>
              </a:rPr>
              <a:t>en</a:t>
            </a:r>
            <a:r>
              <a:rPr lang="en-US">
                <a:cs typeface="Arial"/>
              </a:rPr>
              <a:t> </a:t>
            </a:r>
            <a:r>
              <a:rPr lang="en-US" err="1">
                <a:cs typeface="Arial"/>
              </a:rPr>
              <a:t>vooral</a:t>
            </a:r>
            <a:r>
              <a:rPr lang="en-US">
                <a:cs typeface="Arial"/>
              </a:rPr>
              <a:t> </a:t>
            </a:r>
            <a:r>
              <a:rPr lang="en-US" err="1">
                <a:cs typeface="Arial"/>
              </a:rPr>
              <a:t>veel</a:t>
            </a:r>
            <a:r>
              <a:rPr lang="en-US">
                <a:cs typeface="Arial"/>
              </a:rPr>
              <a:t> </a:t>
            </a:r>
            <a:r>
              <a:rPr lang="en-US" err="1">
                <a:cs typeface="Arial"/>
              </a:rPr>
              <a:t>plezier</a:t>
            </a:r>
            <a:r>
              <a:rPr lang="en-US">
                <a:cs typeface="Arial"/>
              </a:rPr>
              <a:t> met het </a:t>
            </a:r>
            <a:r>
              <a:rPr lang="en-US" err="1">
                <a:cs typeface="Arial"/>
              </a:rPr>
              <a:t>kennis</a:t>
            </a:r>
            <a:r>
              <a:rPr lang="en-US">
                <a:cs typeface="Arial"/>
              </a:rPr>
              <a:t> </a:t>
            </a:r>
            <a:r>
              <a:rPr lang="en-US" err="1">
                <a:cs typeface="Arial"/>
              </a:rPr>
              <a:t>maken</a:t>
            </a:r>
            <a:r>
              <a:rPr lang="en-US">
                <a:cs typeface="Arial"/>
              </a:rPr>
              <a:t> met het </a:t>
            </a:r>
            <a:r>
              <a:rPr lang="en-US" err="1">
                <a:cs typeface="Arial"/>
              </a:rPr>
              <a:t>validatieproces</a:t>
            </a:r>
            <a:r>
              <a:rPr lang="en-US">
                <a:cs typeface="Arial"/>
              </a:rPr>
              <a:t> </a:t>
            </a:r>
            <a:r>
              <a:rPr lang="en-US" err="1">
                <a:cs typeface="Arial"/>
              </a:rPr>
              <a:t>en</a:t>
            </a:r>
            <a:r>
              <a:rPr lang="en-US">
                <a:cs typeface="Arial"/>
              </a:rPr>
              <a:t> </a:t>
            </a:r>
            <a:r>
              <a:rPr lang="en-US" err="1">
                <a:cs typeface="Arial"/>
              </a:rPr>
              <a:t>verschillende</a:t>
            </a:r>
            <a:r>
              <a:rPr lang="en-US">
                <a:cs typeface="Arial"/>
              </a:rPr>
              <a:t> </a:t>
            </a:r>
            <a:r>
              <a:rPr lang="en-US" err="1">
                <a:cs typeface="Arial"/>
              </a:rPr>
              <a:t>datavormen</a:t>
            </a:r>
            <a:r>
              <a:rPr lang="en-US">
                <a:cs typeface="Arial"/>
              </a:rPr>
              <a:t>!</a:t>
            </a:r>
          </a:p>
          <a:p>
            <a:r>
              <a:rPr lang="en-US">
                <a:cs typeface="Arial"/>
              </a:rPr>
              <a:t>Wees </a:t>
            </a:r>
            <a:r>
              <a:rPr lang="en-US" err="1">
                <a:cs typeface="Arial"/>
              </a:rPr>
              <a:t>niet</a:t>
            </a:r>
            <a:r>
              <a:rPr lang="en-US">
                <a:cs typeface="Arial"/>
              </a:rPr>
              <a:t> bang om </a:t>
            </a:r>
            <a:r>
              <a:rPr lang="en-US" err="1">
                <a:cs typeface="Arial"/>
              </a:rPr>
              <a:t>dingen</a:t>
            </a:r>
            <a:r>
              <a:rPr lang="en-US">
                <a:cs typeface="Arial"/>
              </a:rPr>
              <a:t> </a:t>
            </a:r>
            <a:r>
              <a:rPr lang="en-US" err="1">
                <a:cs typeface="Arial"/>
              </a:rPr>
              <a:t>uit</a:t>
            </a:r>
            <a:r>
              <a:rPr lang="en-US">
                <a:cs typeface="Arial"/>
              </a:rPr>
              <a:t> </a:t>
            </a:r>
            <a:r>
              <a:rPr lang="en-US" err="1">
                <a:cs typeface="Arial"/>
              </a:rPr>
              <a:t>te</a:t>
            </a:r>
            <a:r>
              <a:rPr lang="en-US">
                <a:cs typeface="Arial"/>
              </a:rPr>
              <a:t> </a:t>
            </a:r>
            <a:r>
              <a:rPr lang="en-US" err="1">
                <a:cs typeface="Arial"/>
              </a:rPr>
              <a:t>proberen</a:t>
            </a:r>
            <a:r>
              <a:rPr lang="en-US">
                <a:cs typeface="Arial"/>
              </a:rPr>
              <a:t> of </a:t>
            </a:r>
            <a:r>
              <a:rPr lang="en-US" err="1">
                <a:cs typeface="Arial"/>
              </a:rPr>
              <a:t>dingen</a:t>
            </a:r>
            <a:r>
              <a:rPr lang="en-US">
                <a:cs typeface="Arial"/>
              </a:rPr>
              <a:t> op </a:t>
            </a:r>
            <a:r>
              <a:rPr lang="en-US" err="1">
                <a:cs typeface="Arial"/>
              </a:rPr>
              <a:t>te</a:t>
            </a:r>
            <a:r>
              <a:rPr lang="en-US">
                <a:cs typeface="Arial"/>
              </a:rPr>
              <a:t> </a:t>
            </a:r>
            <a:r>
              <a:rPr lang="en-US" err="1">
                <a:cs typeface="Arial"/>
              </a:rPr>
              <a:t>zoeken</a:t>
            </a:r>
            <a:r>
              <a:rPr lang="en-US">
                <a:cs typeface="Arial"/>
              </a:rPr>
              <a:t> op google </a:t>
            </a:r>
            <a:r>
              <a:rPr lang="en-US" err="1">
                <a:cs typeface="Arial"/>
              </a:rPr>
              <a:t>en</a:t>
            </a:r>
            <a:r>
              <a:rPr lang="en-US">
                <a:cs typeface="Arial"/>
              </a:rPr>
              <a:t> </a:t>
            </a:r>
            <a:r>
              <a:rPr lang="en-US" err="1">
                <a:cs typeface="Arial"/>
              </a:rPr>
              <a:t>chatgpt</a:t>
            </a:r>
            <a:r>
              <a:rPr lang="en-US">
                <a:cs typeface="Arial"/>
              </a:rPr>
              <a:t>. Vaak ben je </a:t>
            </a:r>
            <a:r>
              <a:rPr lang="en-US" err="1">
                <a:cs typeface="Arial"/>
              </a:rPr>
              <a:t>niet</a:t>
            </a:r>
            <a:r>
              <a:rPr lang="en-US">
                <a:cs typeface="Arial"/>
              </a:rPr>
              <a:t> de </a:t>
            </a:r>
            <a:r>
              <a:rPr lang="en-US" err="1">
                <a:cs typeface="Arial"/>
              </a:rPr>
              <a:t>eerste</a:t>
            </a:r>
            <a:r>
              <a:rPr lang="en-US">
                <a:cs typeface="Arial"/>
              </a:rPr>
              <a:t> die </a:t>
            </a:r>
            <a:r>
              <a:rPr lang="en-US" err="1">
                <a:cs typeface="Arial"/>
              </a:rPr>
              <a:t>tegen</a:t>
            </a:r>
            <a:r>
              <a:rPr lang="en-US">
                <a:cs typeface="Arial"/>
              </a:rPr>
              <a:t> </a:t>
            </a:r>
            <a:r>
              <a:rPr lang="en-US" err="1">
                <a:cs typeface="Arial"/>
              </a:rPr>
              <a:t>iets</a:t>
            </a:r>
            <a:r>
              <a:rPr lang="en-US">
                <a:cs typeface="Arial"/>
              </a:rPr>
              <a:t> </a:t>
            </a:r>
            <a:r>
              <a:rPr lang="en-US" err="1">
                <a:cs typeface="Arial"/>
              </a:rPr>
              <a:t>aanloopt</a:t>
            </a:r>
            <a:r>
              <a:rPr lang="en-US">
                <a:cs typeface="Arial"/>
              </a:rPr>
              <a:t>: </a:t>
            </a:r>
            <a:r>
              <a:rPr lang="en-US" err="1">
                <a:cs typeface="Arial"/>
              </a:rPr>
              <a:t>veel</a:t>
            </a:r>
            <a:r>
              <a:rPr lang="en-US">
                <a:cs typeface="Arial"/>
              </a:rPr>
              <a:t> </a:t>
            </a:r>
            <a:r>
              <a:rPr lang="en-US" err="1">
                <a:cs typeface="Arial"/>
              </a:rPr>
              <a:t>antwoorden</a:t>
            </a:r>
            <a:r>
              <a:rPr lang="en-US">
                <a:cs typeface="Arial"/>
              </a:rPr>
              <a:t> </a:t>
            </a:r>
            <a:r>
              <a:rPr lang="en-US" err="1">
                <a:cs typeface="Arial"/>
              </a:rPr>
              <a:t>zijn</a:t>
            </a:r>
            <a:r>
              <a:rPr lang="en-US">
                <a:cs typeface="Arial"/>
              </a:rPr>
              <a:t> al </a:t>
            </a:r>
            <a:r>
              <a:rPr lang="en-US" err="1">
                <a:cs typeface="Arial"/>
              </a:rPr>
              <a:t>te</a:t>
            </a:r>
            <a:r>
              <a:rPr lang="en-US">
                <a:cs typeface="Arial"/>
              </a:rPr>
              <a:t> </a:t>
            </a:r>
            <a:r>
              <a:rPr lang="en-US" err="1">
                <a:cs typeface="Arial"/>
              </a:rPr>
              <a:t>vinden</a:t>
            </a:r>
          </a:p>
          <a:p>
            <a:r>
              <a:rPr lang="en-US">
                <a:cs typeface="Arial"/>
              </a:rPr>
              <a:t>Er is </a:t>
            </a:r>
            <a:r>
              <a:rPr lang="en-US" err="1">
                <a:cs typeface="Arial"/>
              </a:rPr>
              <a:t>geen</a:t>
            </a:r>
            <a:r>
              <a:rPr lang="en-US">
                <a:cs typeface="Arial"/>
              </a:rPr>
              <a:t> </a:t>
            </a:r>
            <a:r>
              <a:rPr lang="en-US" err="1">
                <a:cs typeface="Arial"/>
              </a:rPr>
              <a:t>manier</a:t>
            </a:r>
            <a:r>
              <a:rPr lang="en-US">
                <a:cs typeface="Arial"/>
              </a:rPr>
              <a:t> </a:t>
            </a:r>
            <a:r>
              <a:rPr lang="en-US" err="1">
                <a:cs typeface="Arial"/>
              </a:rPr>
              <a:t>bestempeld</a:t>
            </a:r>
            <a:r>
              <a:rPr lang="en-US">
                <a:cs typeface="Arial"/>
              </a:rPr>
              <a:t> </a:t>
            </a:r>
            <a:r>
              <a:rPr lang="en-US" err="1">
                <a:cs typeface="Arial"/>
              </a:rPr>
              <a:t>als</a:t>
            </a:r>
            <a:r>
              <a:rPr lang="en-US">
                <a:cs typeface="Arial"/>
              </a:rPr>
              <a:t> 'correct.' Er </a:t>
            </a:r>
            <a:r>
              <a:rPr lang="en-US" err="1">
                <a:cs typeface="Arial"/>
              </a:rPr>
              <a:t>zijn</a:t>
            </a:r>
            <a:r>
              <a:rPr lang="en-US">
                <a:cs typeface="Arial"/>
              </a:rPr>
              <a:t> </a:t>
            </a:r>
            <a:r>
              <a:rPr lang="en-US" err="1">
                <a:cs typeface="Arial"/>
              </a:rPr>
              <a:t>meerdere</a:t>
            </a:r>
            <a:r>
              <a:rPr lang="en-US">
                <a:cs typeface="Arial"/>
              </a:rPr>
              <a:t> </a:t>
            </a:r>
            <a:r>
              <a:rPr lang="en-US" err="1">
                <a:cs typeface="Arial"/>
              </a:rPr>
              <a:t>wegen</a:t>
            </a:r>
            <a:r>
              <a:rPr lang="en-US">
                <a:cs typeface="Arial"/>
              </a:rPr>
              <a:t> </a:t>
            </a:r>
            <a:r>
              <a:rPr lang="en-US" err="1">
                <a:cs typeface="Arial"/>
              </a:rPr>
              <a:t>te</a:t>
            </a:r>
            <a:r>
              <a:rPr lang="en-US">
                <a:cs typeface="Arial"/>
              </a:rPr>
              <a:t> </a:t>
            </a:r>
            <a:r>
              <a:rPr lang="en-US" err="1">
                <a:cs typeface="Arial"/>
              </a:rPr>
              <a:t>bewandelen</a:t>
            </a:r>
            <a:r>
              <a:rPr lang="en-US">
                <a:cs typeface="Arial"/>
              </a:rPr>
              <a:t> </a:t>
            </a:r>
            <a:r>
              <a:rPr lang="en-US" err="1">
                <a:cs typeface="Arial"/>
              </a:rPr>
              <a:t>als</a:t>
            </a:r>
            <a:r>
              <a:rPr lang="en-US">
                <a:cs typeface="Arial"/>
              </a:rPr>
              <a:t> het </a:t>
            </a:r>
            <a:r>
              <a:rPr lang="en-US" err="1">
                <a:cs typeface="Arial"/>
              </a:rPr>
              <a:t>gaat</a:t>
            </a:r>
            <a:r>
              <a:rPr lang="en-US">
                <a:cs typeface="Arial"/>
              </a:rPr>
              <a:t> om </a:t>
            </a:r>
            <a:r>
              <a:rPr lang="en-US" err="1">
                <a:cs typeface="Arial"/>
              </a:rPr>
              <a:t>coderen</a:t>
            </a:r>
            <a:r>
              <a:rPr lang="en-US">
                <a:cs typeface="Arial"/>
              </a:rPr>
              <a:t>. Wees </a:t>
            </a:r>
            <a:r>
              <a:rPr lang="en-US" err="1">
                <a:cs typeface="Arial"/>
              </a:rPr>
              <a:t>creatief</a:t>
            </a:r>
            <a:r>
              <a:rPr lang="en-US">
                <a:cs typeface="Arial"/>
              </a:rPr>
              <a:t>, maar </a:t>
            </a:r>
            <a:r>
              <a:rPr lang="en-US" err="1">
                <a:cs typeface="Arial"/>
              </a:rPr>
              <a:t>maak</a:t>
            </a:r>
            <a:r>
              <a:rPr lang="en-US">
                <a:cs typeface="Arial"/>
              </a:rPr>
              <a:t> het </a:t>
            </a:r>
            <a:r>
              <a:rPr lang="en-US" err="1">
                <a:cs typeface="Arial"/>
              </a:rPr>
              <a:t>jezelf</a:t>
            </a:r>
            <a:r>
              <a:rPr lang="en-US">
                <a:cs typeface="Arial"/>
              </a:rPr>
              <a:t> </a:t>
            </a:r>
            <a:r>
              <a:rPr lang="en-US" err="1">
                <a:cs typeface="Arial"/>
              </a:rPr>
              <a:t>niet</a:t>
            </a:r>
            <a:r>
              <a:rPr lang="en-US">
                <a:cs typeface="Arial"/>
              </a:rPr>
              <a:t> </a:t>
            </a:r>
            <a:r>
              <a:rPr lang="en-US" err="1">
                <a:cs typeface="Arial"/>
              </a:rPr>
              <a:t>te</a:t>
            </a:r>
            <a:r>
              <a:rPr lang="en-US">
                <a:cs typeface="Arial"/>
              </a:rPr>
              <a:t> </a:t>
            </a:r>
            <a:r>
              <a:rPr lang="en-US" err="1">
                <a:cs typeface="Arial"/>
              </a:rPr>
              <a:t>moeilijk</a:t>
            </a:r>
            <a:r>
              <a:rPr lang="en-US">
                <a:cs typeface="Arial"/>
              </a:rPr>
              <a:t>. </a:t>
            </a:r>
            <a:r>
              <a:rPr lang="en-US" err="1">
                <a:cs typeface="Arial"/>
              </a:rPr>
              <a:t>Probeer</a:t>
            </a:r>
            <a:r>
              <a:rPr lang="en-US">
                <a:cs typeface="Arial"/>
              </a:rPr>
              <a:t> </a:t>
            </a:r>
            <a:r>
              <a:rPr lang="en-US" err="1">
                <a:cs typeface="Arial"/>
              </a:rPr>
              <a:t>bestaande</a:t>
            </a:r>
            <a:r>
              <a:rPr lang="en-US">
                <a:cs typeface="Arial"/>
              </a:rPr>
              <a:t> scripts </a:t>
            </a:r>
            <a:r>
              <a:rPr lang="en-US" err="1">
                <a:cs typeface="Arial"/>
              </a:rPr>
              <a:t>en</a:t>
            </a:r>
            <a:r>
              <a:rPr lang="en-US">
                <a:cs typeface="Arial"/>
              </a:rPr>
              <a:t> formats </a:t>
            </a:r>
            <a:r>
              <a:rPr lang="en-US" err="1">
                <a:cs typeface="Arial"/>
              </a:rPr>
              <a:t>zoveel</a:t>
            </a:r>
            <a:r>
              <a:rPr lang="en-US">
                <a:cs typeface="Arial"/>
              </a:rPr>
              <a:t> </a:t>
            </a:r>
            <a:r>
              <a:rPr lang="en-US" err="1">
                <a:cs typeface="Arial"/>
              </a:rPr>
              <a:t>mogelijk</a:t>
            </a:r>
            <a:r>
              <a:rPr lang="en-US">
                <a:cs typeface="Arial"/>
              </a:rPr>
              <a:t> her </a:t>
            </a:r>
            <a:r>
              <a:rPr lang="en-US" err="1">
                <a:cs typeface="Arial"/>
              </a:rPr>
              <a:t>te</a:t>
            </a:r>
            <a:r>
              <a:rPr lang="en-US">
                <a:cs typeface="Arial"/>
              </a:rPr>
              <a:t> </a:t>
            </a:r>
            <a:r>
              <a:rPr lang="en-US" err="1">
                <a:cs typeface="Arial"/>
              </a:rPr>
              <a:t>gebruiken</a:t>
            </a:r>
            <a:r>
              <a:rPr lang="en-US">
                <a:cs typeface="Arial"/>
              </a:rPr>
              <a:t>. </a:t>
            </a:r>
          </a:p>
        </p:txBody>
      </p:sp>
      <p:pic>
        <p:nvPicPr>
          <p:cNvPr id="5" name="Content Placeholder 4" descr="Child on swing">
            <a:extLst>
              <a:ext uri="{FF2B5EF4-FFF2-40B4-BE49-F238E27FC236}">
                <a16:creationId xmlns:a16="http://schemas.microsoft.com/office/drawing/2014/main" id="{3DE40473-CE31-6E8A-E2B7-BE3A164F53A4}"/>
              </a:ext>
            </a:extLst>
          </p:cNvPr>
          <p:cNvPicPr>
            <a:picLocks noGrp="1" noChangeAspect="1"/>
          </p:cNvPicPr>
          <p:nvPr>
            <p:ph sz="quarter" idx="11"/>
          </p:nvPr>
        </p:nvPicPr>
        <p:blipFill>
          <a:blip r:embed="rId2"/>
          <a:stretch>
            <a:fillRect/>
          </a:stretch>
        </p:blipFill>
        <p:spPr>
          <a:xfrm>
            <a:off x="6240615" y="1902154"/>
            <a:ext cx="4575175" cy="3048552"/>
          </a:xfrm>
        </p:spPr>
      </p:pic>
    </p:spTree>
    <p:extLst>
      <p:ext uri="{BB962C8B-B14F-4D97-AF65-F5344CB8AC3E}">
        <p14:creationId xmlns:p14="http://schemas.microsoft.com/office/powerpoint/2010/main" val="2068634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Oefen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303725"/>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323280"/>
            <a:ext cx="10472284" cy="2308324"/>
          </a:xfrm>
          <a:prstGeom prst="rect">
            <a:avLst/>
          </a:prstGeom>
          <a:noFill/>
        </p:spPr>
        <p:txBody>
          <a:bodyPr wrap="square">
            <a:spAutoFit/>
          </a:bodyPr>
          <a:lstStyle/>
          <a:p>
            <a:pPr algn="l"/>
            <a:r>
              <a:rPr lang="nl-NL" sz="1600" dirty="0">
                <a:latin typeface="Söhne"/>
              </a:rPr>
              <a:t>In de volgende dia's wordt het proces weergegeven om tot een validatie rapport te komen. Momenteel wordt er gebruik gemaakt van een converter die de DPP onderdelen nog niet mee converteert naar RDF (Van IFC naar RDF). Deze zijn daarom handmatig aangevuld in het voorbeeld RDF later besproken in de PowerPoint. </a:t>
            </a:r>
            <a:r>
              <a:rPr lang="nl-NL" sz="1600" b="1" dirty="0">
                <a:latin typeface="Söhne"/>
              </a:rPr>
              <a:t>Indien je dus zelf een IFC file converteert bevat deze nog niet de juiste informatie om te voldoen aan het validatieproces en zullen de DPP onderdelen er als foutmelding uitkomen</a:t>
            </a:r>
            <a:r>
              <a:rPr lang="nl-NL" sz="1600" dirty="0">
                <a:latin typeface="Söhne"/>
              </a:rPr>
              <a:t>. </a:t>
            </a:r>
          </a:p>
          <a:p>
            <a:pPr algn="l"/>
            <a:endParaRPr lang="nl-NL" sz="1600" dirty="0">
              <a:latin typeface="Söhne"/>
            </a:endParaRPr>
          </a:p>
          <a:p>
            <a:pPr algn="l"/>
            <a:r>
              <a:rPr lang="nl-NL" sz="1600" dirty="0">
                <a:latin typeface="Söhne"/>
              </a:rPr>
              <a:t>Wil je alsnog graag zien hoe de tool werkt: maak dan gebruik van het voorgeselecteerde TTL (RDF) bestand genaamd</a:t>
            </a:r>
            <a:r>
              <a:rPr lang="nl-NL" sz="1600" dirty="0">
                <a:highlight>
                  <a:srgbClr val="FFFF00"/>
                </a:highlight>
                <a:latin typeface="Söhne"/>
              </a:rPr>
              <a:t> </a:t>
            </a:r>
            <a:r>
              <a:rPr lang="nl-NL" sz="1600" dirty="0" err="1">
                <a:highlight>
                  <a:srgbClr val="FFFF00"/>
                </a:highlight>
                <a:latin typeface="Söhne"/>
              </a:rPr>
              <a:t>TestfileX</a:t>
            </a:r>
            <a:r>
              <a:rPr lang="nl-NL" sz="1600" dirty="0">
                <a:highlight>
                  <a:srgbClr val="FFFF00"/>
                </a:highlight>
                <a:latin typeface="Söhne"/>
              </a:rPr>
              <a:t> </a:t>
            </a:r>
            <a:r>
              <a:rPr lang="nl-NL" sz="1600" dirty="0">
                <a:latin typeface="Söhne"/>
              </a:rPr>
              <a:t>beschikbaar in </a:t>
            </a:r>
            <a:r>
              <a:rPr lang="nl-NL" sz="1600" dirty="0" err="1">
                <a:latin typeface="Söhne"/>
              </a:rPr>
              <a:t>Github</a:t>
            </a:r>
            <a:r>
              <a:rPr lang="nl-NL" sz="1600" dirty="0">
                <a:latin typeface="Söhne"/>
              </a:rPr>
              <a:t>. Deze kan ingeladen worden om de validatie stappen te doorlopen en te oefenen met het proces. Wanneer je dit wilt doen kun je dia 5 tot en met 12 overslaan m.u.v. het opzetten van python. </a:t>
            </a:r>
            <a:endParaRPr lang="nl-NL" sz="1600" b="0" i="0" dirty="0">
              <a:effectLst/>
              <a:latin typeface="Söhne"/>
            </a:endParaRPr>
          </a:p>
        </p:txBody>
      </p:sp>
    </p:spTree>
    <p:extLst>
      <p:ext uri="{BB962C8B-B14F-4D97-AF65-F5344CB8AC3E}">
        <p14:creationId xmlns:p14="http://schemas.microsoft.com/office/powerpoint/2010/main" val="361239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ownload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323280"/>
            <a:ext cx="10472284" cy="3046988"/>
          </a:xfrm>
          <a:prstGeom prst="rect">
            <a:avLst/>
          </a:prstGeom>
          <a:noFill/>
        </p:spPr>
        <p:txBody>
          <a:bodyPr wrap="square">
            <a:spAutoFit/>
          </a:bodyPr>
          <a:lstStyle/>
          <a:p>
            <a:pPr marL="342900" indent="-342900" algn="l">
              <a:buAutoNum type="arabicPeriod"/>
            </a:pPr>
            <a:r>
              <a:rPr lang="nl-NL" sz="1600" b="0" i="0" dirty="0">
                <a:effectLst/>
                <a:latin typeface="Söhne"/>
              </a:rPr>
              <a:t>Download Visual Studio Code (VSC)</a:t>
            </a:r>
          </a:p>
          <a:p>
            <a:pPr algn="l"/>
            <a:r>
              <a:rPr lang="nl-NL" sz="1600" dirty="0">
                <a:latin typeface="YouTube Noto"/>
                <a:hlinkClick r:id="rId3" tooltip="Link delen"/>
              </a:rPr>
              <a:t>        </a:t>
            </a:r>
            <a:r>
              <a:rPr lang="nl-NL" sz="1600" b="0" i="0" u="none" strike="noStrike" dirty="0">
                <a:effectLst/>
                <a:latin typeface="YouTube Noto"/>
                <a:hlinkClick r:id="rId3" tooltip="Link delen"/>
              </a:rPr>
              <a:t>https://youtu.be/9o4gDQvVkLU</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dirty="0">
                <a:latin typeface="Söhne"/>
              </a:rPr>
              <a:t>Volg de stappen van bovenstaande link en onderstaande website indien je onbekend bent met Python: </a:t>
            </a:r>
            <a:r>
              <a:rPr lang="nl-NL" sz="1600" dirty="0">
                <a:latin typeface="Söhne"/>
                <a:hlinkClick r:id="rId4"/>
              </a:rPr>
              <a:t>https://code.visualstudio.com/docs/python/python-tutorial</a:t>
            </a:r>
            <a:r>
              <a:rPr lang="nl-NL" sz="1600" dirty="0">
                <a:latin typeface="Söhne"/>
              </a:rPr>
              <a:t> </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b="0" i="0" dirty="0">
                <a:effectLst/>
                <a:latin typeface="Söhne"/>
              </a:rPr>
              <a:t>Download </a:t>
            </a:r>
            <a:r>
              <a:rPr lang="nl-NL" sz="1600" b="0" i="0" dirty="0" err="1">
                <a:effectLst/>
                <a:latin typeface="Söhne"/>
              </a:rPr>
              <a:t>IFCtoLBD</a:t>
            </a:r>
            <a:r>
              <a:rPr lang="nl-NL" sz="1600" b="0" i="0" dirty="0">
                <a:effectLst/>
                <a:latin typeface="Söhne"/>
              </a:rPr>
              <a:t> en </a:t>
            </a:r>
            <a:r>
              <a:rPr lang="nl-NL" sz="1600" b="0" i="0" dirty="0" err="1">
                <a:effectLst/>
                <a:latin typeface="Söhne"/>
              </a:rPr>
              <a:t>Namespaces</a:t>
            </a:r>
            <a:r>
              <a:rPr lang="nl-NL" sz="1600" b="0" i="0" dirty="0">
                <a:effectLst/>
                <a:latin typeface="Söhne"/>
              </a:rPr>
              <a:t> van </a:t>
            </a:r>
            <a:r>
              <a:rPr lang="nl-NL" sz="1600" b="0" i="0" dirty="0" err="1">
                <a:effectLst/>
                <a:latin typeface="Söhne"/>
              </a:rPr>
              <a:t>github</a:t>
            </a:r>
            <a:r>
              <a:rPr lang="nl-NL" sz="1600" b="0" i="0" dirty="0">
                <a:effectLst/>
                <a:latin typeface="Söhne"/>
              </a:rPr>
              <a:t>, sla op in je gemaakte omgeving (bijv. in een specifieke folder) en open in VSC (File -&gt; open file </a:t>
            </a:r>
            <a:r>
              <a:rPr lang="nl-NL" sz="1600" b="0" i="0" dirty="0" err="1">
                <a:effectLst/>
                <a:latin typeface="Söhne"/>
              </a:rPr>
              <a:t>linksbovenin</a:t>
            </a:r>
            <a:r>
              <a:rPr lang="nl-NL" sz="1600" b="0" i="0" dirty="0">
                <a:effectLst/>
                <a:latin typeface="Söhne"/>
              </a:rPr>
              <a:t>)</a:t>
            </a:r>
          </a:p>
          <a:p>
            <a:pPr algn="l"/>
            <a:r>
              <a:rPr lang="nl-NL" sz="1600" b="0" i="0" dirty="0">
                <a:effectLst/>
                <a:latin typeface="Söhne"/>
                <a:hlinkClick r:id="rId5"/>
              </a:rPr>
              <a:t>        https://github.com/JannekeBosma/DPP</a:t>
            </a:r>
            <a:r>
              <a:rPr lang="nl-NL" sz="1600" b="0" i="0" dirty="0">
                <a:effectLst/>
                <a:latin typeface="Söhne"/>
              </a:rPr>
              <a:t> </a:t>
            </a:r>
          </a:p>
          <a:p>
            <a:pPr marL="342900" indent="-342900" algn="l">
              <a:buAutoNum type="arabicPeriod"/>
            </a:pPr>
            <a:endParaRPr lang="nl-NL" sz="1600" b="0" i="0" dirty="0">
              <a:effectLst/>
              <a:latin typeface="Söhne"/>
            </a:endParaRPr>
          </a:p>
          <a:p>
            <a:pPr algn="l"/>
            <a:r>
              <a:rPr lang="nl-NL" sz="1600" dirty="0">
                <a:latin typeface="Söhne"/>
              </a:rPr>
              <a:t>4.    Download benodigde packages weergegeven in </a:t>
            </a:r>
            <a:r>
              <a:rPr lang="nl-NL" sz="1600" dirty="0" err="1">
                <a:latin typeface="Söhne"/>
              </a:rPr>
              <a:t>IFCtoLBD</a:t>
            </a:r>
            <a:r>
              <a:rPr lang="nl-NL" sz="1600" dirty="0">
                <a:latin typeface="Söhne"/>
              </a:rPr>
              <a:t> file (zie volgende slide)</a:t>
            </a:r>
            <a:endParaRPr lang="nl-NL" sz="1600" b="0" i="0" dirty="0">
              <a:effectLst/>
              <a:latin typeface="Söhne"/>
            </a:endParaRPr>
          </a:p>
          <a:p>
            <a:pPr algn="l"/>
            <a:endParaRPr lang="nl-NL" sz="1600" b="0" i="0" dirty="0">
              <a:effectLst/>
              <a:latin typeface="Söhne"/>
            </a:endParaRP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7" name="Afbeelding 6">
            <a:extLst>
              <a:ext uri="{FF2B5EF4-FFF2-40B4-BE49-F238E27FC236}">
                <a16:creationId xmlns:a16="http://schemas.microsoft.com/office/drawing/2014/main" id="{D72BBCAA-B857-7FBD-06FF-B75D87414B3E}"/>
              </a:ext>
            </a:extLst>
          </p:cNvPr>
          <p:cNvPicPr>
            <a:picLocks noChangeAspect="1"/>
          </p:cNvPicPr>
          <p:nvPr/>
        </p:nvPicPr>
        <p:blipFill>
          <a:blip r:embed="rId6"/>
          <a:stretch>
            <a:fillRect/>
          </a:stretch>
        </p:blipFill>
        <p:spPr>
          <a:xfrm>
            <a:off x="653679" y="4626779"/>
            <a:ext cx="2170569" cy="539505"/>
          </a:xfrm>
          <a:prstGeom prst="rect">
            <a:avLst/>
          </a:prstGeom>
        </p:spPr>
      </p:pic>
      <p:pic>
        <p:nvPicPr>
          <p:cNvPr id="10" name="Afbeelding 9">
            <a:extLst>
              <a:ext uri="{FF2B5EF4-FFF2-40B4-BE49-F238E27FC236}">
                <a16:creationId xmlns:a16="http://schemas.microsoft.com/office/drawing/2014/main" id="{1348F7BB-BA51-CF3A-F363-7285EC19F8D1}"/>
              </a:ext>
            </a:extLst>
          </p:cNvPr>
          <p:cNvPicPr>
            <a:picLocks noChangeAspect="1"/>
          </p:cNvPicPr>
          <p:nvPr/>
        </p:nvPicPr>
        <p:blipFill>
          <a:blip r:embed="rId7"/>
          <a:stretch>
            <a:fillRect/>
          </a:stretch>
        </p:blipFill>
        <p:spPr>
          <a:xfrm>
            <a:off x="3708725" y="4153307"/>
            <a:ext cx="2571779" cy="1561857"/>
          </a:xfrm>
          <a:prstGeom prst="rect">
            <a:avLst/>
          </a:prstGeom>
        </p:spPr>
      </p:pic>
      <p:cxnSp>
        <p:nvCxnSpPr>
          <p:cNvPr id="12" name="Rechte verbindingslijn met pijl 11">
            <a:extLst>
              <a:ext uri="{FF2B5EF4-FFF2-40B4-BE49-F238E27FC236}">
                <a16:creationId xmlns:a16="http://schemas.microsoft.com/office/drawing/2014/main" id="{41476F61-CD69-D03C-B7C9-373381E3C34F}"/>
              </a:ext>
            </a:extLst>
          </p:cNvPr>
          <p:cNvCxnSpPr/>
          <p:nvPr/>
        </p:nvCxnSpPr>
        <p:spPr>
          <a:xfrm>
            <a:off x="3208275" y="4531567"/>
            <a:ext cx="425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BAEA0D44-7839-AEFA-9A19-C42F3BD8A235}"/>
              </a:ext>
            </a:extLst>
          </p:cNvPr>
          <p:cNvCxnSpPr>
            <a:cxnSpLocks/>
          </p:cNvCxnSpPr>
          <p:nvPr/>
        </p:nvCxnSpPr>
        <p:spPr>
          <a:xfrm flipH="1">
            <a:off x="6368143" y="5166284"/>
            <a:ext cx="4199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kstvak 14">
            <a:extLst>
              <a:ext uri="{FF2B5EF4-FFF2-40B4-BE49-F238E27FC236}">
                <a16:creationId xmlns:a16="http://schemas.microsoft.com/office/drawing/2014/main" id="{3FE970CF-3726-498A-35BF-B4D0EDECA522}"/>
              </a:ext>
            </a:extLst>
          </p:cNvPr>
          <p:cNvSpPr txBox="1"/>
          <p:nvPr/>
        </p:nvSpPr>
        <p:spPr>
          <a:xfrm>
            <a:off x="7467066" y="4289121"/>
            <a:ext cx="4440264" cy="1754326"/>
          </a:xfrm>
          <a:prstGeom prst="rect">
            <a:avLst/>
          </a:prstGeom>
          <a:noFill/>
        </p:spPr>
        <p:txBody>
          <a:bodyPr wrap="square" rtlCol="0">
            <a:spAutoFit/>
          </a:bodyPr>
          <a:lstStyle/>
          <a:p>
            <a:r>
              <a:rPr lang="nl-NL" b="0" dirty="0" err="1">
                <a:solidFill>
                  <a:srgbClr val="C586C0"/>
                </a:solidFill>
                <a:effectLst/>
                <a:latin typeface="Consolas" panose="020B0609020204030204" pitchFamily="49" charset="0"/>
              </a:rPr>
              <a:t>from</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datetime</a:t>
            </a:r>
            <a:r>
              <a:rPr lang="nl-NL" b="0" dirty="0">
                <a:solidFill>
                  <a:srgbClr val="CCCCCC"/>
                </a:solidFill>
                <a:effectLst/>
                <a:latin typeface="Consolas" panose="020B0609020204030204" pitchFamily="49" charset="0"/>
              </a:rPr>
              <a:t> </a:t>
            </a:r>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datetime</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ifcopenshell</a:t>
            </a:r>
            <a:r>
              <a:rPr lang="nl-NL" b="0" dirty="0">
                <a:solidFill>
                  <a:srgbClr val="CCCCCC"/>
                </a:solidFill>
                <a:effectLst/>
                <a:latin typeface="Consolas" panose="020B0609020204030204" pitchFamily="49" charset="0"/>
              </a:rPr>
              <a:t> </a:t>
            </a:r>
            <a:r>
              <a:rPr lang="nl-NL" b="0" dirty="0">
                <a:solidFill>
                  <a:srgbClr val="C586C0"/>
                </a:solidFill>
                <a:effectLst/>
                <a:latin typeface="Consolas" panose="020B0609020204030204" pitchFamily="49" charset="0"/>
              </a:rPr>
              <a:t>as</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ios</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Namespace</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a:solidFill>
                  <a:srgbClr val="4EC9B0"/>
                </a:solidFill>
                <a:effectLst/>
                <a:latin typeface="Consolas" panose="020B0609020204030204" pitchFamily="49" charset="0"/>
              </a:rPr>
              <a:t>os</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a:solidFill>
                  <a:srgbClr val="4EC9B0"/>
                </a:solidFill>
                <a:effectLst/>
                <a:latin typeface="Consolas" panose="020B0609020204030204" pitchFamily="49" charset="0"/>
              </a:rPr>
              <a:t>re</a:t>
            </a:r>
            <a:r>
              <a:rPr lang="nl-NL" b="0" dirty="0">
                <a:solidFill>
                  <a:srgbClr val="CCCCCC"/>
                </a:solidFill>
                <a:effectLst/>
                <a:latin typeface="Consolas" panose="020B0609020204030204" pitchFamily="49" charset="0"/>
              </a:rPr>
              <a:t> </a:t>
            </a:r>
          </a:p>
          <a:p>
            <a:endParaRPr lang="nl-NL" dirty="0"/>
          </a:p>
        </p:txBody>
      </p:sp>
      <p:sp>
        <p:nvSpPr>
          <p:cNvPr id="16" name="Tekstvak 15">
            <a:extLst>
              <a:ext uri="{FF2B5EF4-FFF2-40B4-BE49-F238E27FC236}">
                <a16:creationId xmlns:a16="http://schemas.microsoft.com/office/drawing/2014/main" id="{C8C4239A-55BC-C08E-0233-FBAF7402FFCE}"/>
              </a:ext>
            </a:extLst>
          </p:cNvPr>
          <p:cNvSpPr txBox="1"/>
          <p:nvPr/>
        </p:nvSpPr>
        <p:spPr>
          <a:xfrm>
            <a:off x="7467066" y="3996890"/>
            <a:ext cx="3952046" cy="369332"/>
          </a:xfrm>
          <a:prstGeom prst="rect">
            <a:avLst/>
          </a:prstGeom>
          <a:noFill/>
        </p:spPr>
        <p:txBody>
          <a:bodyPr wrap="square" rtlCol="0">
            <a:spAutoFit/>
          </a:bodyPr>
          <a:lstStyle/>
          <a:p>
            <a:r>
              <a:rPr lang="nl-NL" dirty="0"/>
              <a:t>Packages:</a:t>
            </a:r>
          </a:p>
        </p:txBody>
      </p:sp>
    </p:spTree>
    <p:extLst>
      <p:ext uri="{BB962C8B-B14F-4D97-AF65-F5344CB8AC3E}">
        <p14:creationId xmlns:p14="http://schemas.microsoft.com/office/powerpoint/2010/main" val="1539123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vak 10">
            <a:extLst>
              <a:ext uri="{FF2B5EF4-FFF2-40B4-BE49-F238E27FC236}">
                <a16:creationId xmlns:a16="http://schemas.microsoft.com/office/drawing/2014/main" id="{A1EE8646-823E-BAE2-5DB9-6A84A4650D75}"/>
              </a:ext>
            </a:extLst>
          </p:cNvPr>
          <p:cNvSpPr txBox="1"/>
          <p:nvPr/>
        </p:nvSpPr>
        <p:spPr>
          <a:xfrm>
            <a:off x="772888" y="1323280"/>
            <a:ext cx="10472284" cy="3785652"/>
          </a:xfrm>
          <a:prstGeom prst="rect">
            <a:avLst/>
          </a:prstGeom>
          <a:noFill/>
        </p:spPr>
        <p:txBody>
          <a:bodyPr wrap="square">
            <a:spAutoFit/>
          </a:bodyPr>
          <a:lstStyle/>
          <a:p>
            <a:pPr marL="342900" indent="-342900" algn="l">
              <a:buAutoNum type="arabicPeriod"/>
            </a:pPr>
            <a:r>
              <a:rPr lang="nl-NL" sz="1600" b="0" i="0" dirty="0">
                <a:effectLst/>
                <a:latin typeface="Söhne"/>
              </a:rPr>
              <a:t>Installeer de packages. Haal hiervoor de termin</a:t>
            </a:r>
            <a:r>
              <a:rPr lang="nl-NL" sz="1600" dirty="0">
                <a:latin typeface="Söhne"/>
              </a:rPr>
              <a:t>al onderin het scherm omhoog.</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algn="l"/>
            <a:endParaRPr lang="nl-NL" sz="1600" dirty="0">
              <a:latin typeface="Söhne"/>
            </a:endParaRPr>
          </a:p>
          <a:p>
            <a:pPr algn="l"/>
            <a:r>
              <a:rPr lang="nl-NL" sz="1600" dirty="0">
                <a:latin typeface="Söhne"/>
              </a:rPr>
              <a:t>2.   Installeer de benodigde packages in de terminal met gebruik van pip </a:t>
            </a:r>
            <a:r>
              <a:rPr lang="nl-NL" sz="1600" dirty="0" err="1">
                <a:latin typeface="Söhne"/>
              </a:rPr>
              <a:t>install</a:t>
            </a:r>
            <a:r>
              <a:rPr lang="nl-NL" sz="1600" dirty="0">
                <a:latin typeface="Söhne"/>
              </a:rPr>
              <a:t> …</a:t>
            </a:r>
            <a:r>
              <a:rPr lang="nl-NL" sz="1600" i="1" dirty="0">
                <a:latin typeface="Söhne"/>
              </a:rPr>
              <a:t>naam package</a:t>
            </a:r>
            <a:r>
              <a:rPr lang="nl-NL" sz="1600" dirty="0">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algn="l"/>
            <a:endParaRPr lang="nl-NL" sz="1600" dirty="0">
              <a:latin typeface="Söhne"/>
            </a:endParaRPr>
          </a:p>
          <a:p>
            <a:pPr algn="l"/>
            <a:r>
              <a:rPr lang="nl-NL" sz="1600" dirty="0">
                <a:latin typeface="Söhne"/>
              </a:rPr>
              <a:t>3.    Als het goed geïnstalleerd is ziet het er als volgt uit (</a:t>
            </a:r>
            <a:r>
              <a:rPr lang="nl-NL" sz="1600" dirty="0" err="1">
                <a:latin typeface="Söhne"/>
              </a:rPr>
              <a:t>namespaces</a:t>
            </a:r>
            <a:r>
              <a:rPr lang="nl-NL" sz="1600" dirty="0">
                <a:latin typeface="Söhne"/>
              </a:rPr>
              <a:t> staat voor de uit </a:t>
            </a:r>
            <a:r>
              <a:rPr lang="nl-NL" sz="1600" dirty="0" err="1">
                <a:latin typeface="Söhne"/>
              </a:rPr>
              <a:t>github</a:t>
            </a:r>
            <a:r>
              <a:rPr lang="nl-NL" sz="1600" dirty="0">
                <a:latin typeface="Söhne"/>
              </a:rPr>
              <a:t> gedownloade file </a:t>
            </a:r>
            <a:r>
              <a:rPr lang="nl-NL" sz="1600" dirty="0" err="1">
                <a:latin typeface="Söhne"/>
              </a:rPr>
              <a:t>namespaces</a:t>
            </a:r>
            <a:r>
              <a:rPr lang="nl-NL" sz="1600" dirty="0">
                <a:latin typeface="Söhne"/>
              </a:rPr>
              <a:t>).</a:t>
            </a:r>
          </a:p>
          <a:p>
            <a:pPr algn="l"/>
            <a:r>
              <a:rPr lang="nl-NL" sz="1600" b="0" i="0" dirty="0">
                <a:effectLst/>
                <a:latin typeface="Söhne"/>
              </a:rPr>
              <a:t>       Indien deze niet geïnstalleerd zijn is dit te herkennen aan een gele of rode onderstreping.</a:t>
            </a:r>
          </a:p>
        </p:txBody>
      </p:sp>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ownloads</a:t>
            </a: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6" name="Afbeelding 5">
            <a:extLst>
              <a:ext uri="{FF2B5EF4-FFF2-40B4-BE49-F238E27FC236}">
                <a16:creationId xmlns:a16="http://schemas.microsoft.com/office/drawing/2014/main" id="{13156CCA-6DBB-8AC9-47EC-4D83B1131C1A}"/>
              </a:ext>
            </a:extLst>
          </p:cNvPr>
          <p:cNvPicPr>
            <a:picLocks noChangeAspect="1"/>
          </p:cNvPicPr>
          <p:nvPr/>
        </p:nvPicPr>
        <p:blipFill>
          <a:blip r:embed="rId3"/>
          <a:stretch>
            <a:fillRect/>
          </a:stretch>
        </p:blipFill>
        <p:spPr>
          <a:xfrm>
            <a:off x="1170215" y="3371283"/>
            <a:ext cx="5856516" cy="1181408"/>
          </a:xfrm>
          <a:prstGeom prst="rect">
            <a:avLst/>
          </a:prstGeom>
        </p:spPr>
      </p:pic>
      <p:pic>
        <p:nvPicPr>
          <p:cNvPr id="20" name="Afbeelding 19">
            <a:extLst>
              <a:ext uri="{FF2B5EF4-FFF2-40B4-BE49-F238E27FC236}">
                <a16:creationId xmlns:a16="http://schemas.microsoft.com/office/drawing/2014/main" id="{8EB1B4FA-AC70-4FC1-A039-C46FCAD74FBF}"/>
              </a:ext>
            </a:extLst>
          </p:cNvPr>
          <p:cNvPicPr>
            <a:picLocks noChangeAspect="1"/>
          </p:cNvPicPr>
          <p:nvPr/>
        </p:nvPicPr>
        <p:blipFill>
          <a:blip r:embed="rId4"/>
          <a:stretch>
            <a:fillRect/>
          </a:stretch>
        </p:blipFill>
        <p:spPr>
          <a:xfrm>
            <a:off x="1170215" y="1607944"/>
            <a:ext cx="6041570" cy="1288070"/>
          </a:xfrm>
          <a:prstGeom prst="rect">
            <a:avLst/>
          </a:prstGeom>
        </p:spPr>
      </p:pic>
      <p:cxnSp>
        <p:nvCxnSpPr>
          <p:cNvPr id="22" name="Rechte verbindingslijn met pijl 21">
            <a:extLst>
              <a:ext uri="{FF2B5EF4-FFF2-40B4-BE49-F238E27FC236}">
                <a16:creationId xmlns:a16="http://schemas.microsoft.com/office/drawing/2014/main" id="{6564B797-C93B-5816-5FB6-D873137F32BC}"/>
              </a:ext>
            </a:extLst>
          </p:cNvPr>
          <p:cNvCxnSpPr/>
          <p:nvPr/>
        </p:nvCxnSpPr>
        <p:spPr>
          <a:xfrm flipV="1">
            <a:off x="4561114" y="2251979"/>
            <a:ext cx="0" cy="3824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E80ECA01-BDFB-84B0-16D3-C35F40486D2B}"/>
              </a:ext>
            </a:extLst>
          </p:cNvPr>
          <p:cNvCxnSpPr/>
          <p:nvPr/>
        </p:nvCxnSpPr>
        <p:spPr>
          <a:xfrm>
            <a:off x="4114800" y="2623576"/>
            <a:ext cx="892628" cy="0"/>
          </a:xfrm>
          <a:prstGeom prst="line">
            <a:avLst/>
          </a:prstGeom>
        </p:spPr>
        <p:style>
          <a:lnRef idx="1">
            <a:schemeClr val="accent1"/>
          </a:lnRef>
          <a:fillRef idx="0">
            <a:schemeClr val="accent1"/>
          </a:fillRef>
          <a:effectRef idx="0">
            <a:schemeClr val="accent1"/>
          </a:effectRef>
          <a:fontRef idx="minor">
            <a:schemeClr val="tx1"/>
          </a:fontRef>
        </p:style>
      </p:cxnSp>
      <p:pic>
        <p:nvPicPr>
          <p:cNvPr id="26" name="Afbeelding 25">
            <a:extLst>
              <a:ext uri="{FF2B5EF4-FFF2-40B4-BE49-F238E27FC236}">
                <a16:creationId xmlns:a16="http://schemas.microsoft.com/office/drawing/2014/main" id="{CD1F434F-8504-2914-CB02-FFE663C703A8}"/>
              </a:ext>
            </a:extLst>
          </p:cNvPr>
          <p:cNvPicPr>
            <a:picLocks noChangeAspect="1"/>
          </p:cNvPicPr>
          <p:nvPr/>
        </p:nvPicPr>
        <p:blipFill>
          <a:blip r:embed="rId5"/>
          <a:stretch>
            <a:fillRect/>
          </a:stretch>
        </p:blipFill>
        <p:spPr>
          <a:xfrm>
            <a:off x="1170215" y="5027960"/>
            <a:ext cx="7303735" cy="1240466"/>
          </a:xfrm>
          <a:prstGeom prst="rect">
            <a:avLst/>
          </a:prstGeom>
        </p:spPr>
      </p:pic>
    </p:spTree>
    <p:extLst>
      <p:ext uri="{BB962C8B-B14F-4D97-AF65-F5344CB8AC3E}">
        <p14:creationId xmlns:p14="http://schemas.microsoft.com/office/powerpoint/2010/main" val="46050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verteer IFC-LBD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5" name="Afbeelding 4">
            <a:extLst>
              <a:ext uri="{FF2B5EF4-FFF2-40B4-BE49-F238E27FC236}">
                <a16:creationId xmlns:a16="http://schemas.microsoft.com/office/drawing/2014/main" id="{50A69594-4035-8EB1-0CCA-D1E192039F43}"/>
              </a:ext>
            </a:extLst>
          </p:cNvPr>
          <p:cNvPicPr>
            <a:picLocks noChangeAspect="1"/>
          </p:cNvPicPr>
          <p:nvPr/>
        </p:nvPicPr>
        <p:blipFill>
          <a:blip r:embed="rId3"/>
          <a:stretch>
            <a:fillRect/>
          </a:stretch>
        </p:blipFill>
        <p:spPr>
          <a:xfrm>
            <a:off x="1134254" y="2520900"/>
            <a:ext cx="8919090" cy="908100"/>
          </a:xfrm>
          <a:prstGeom prst="rect">
            <a:avLst/>
          </a:prstGeom>
        </p:spPr>
      </p:pic>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3539430"/>
          </a:xfrm>
          <a:prstGeom prst="rect">
            <a:avLst/>
          </a:prstGeom>
          <a:noFill/>
        </p:spPr>
        <p:txBody>
          <a:bodyPr wrap="square">
            <a:spAutoFit/>
          </a:bodyPr>
          <a:lstStyle/>
          <a:p>
            <a:pPr marL="342900" indent="-342900" algn="l">
              <a:buAutoNum type="arabicPeriod"/>
            </a:pPr>
            <a:r>
              <a:rPr lang="nl-NL" sz="1600" b="0" i="0" dirty="0">
                <a:effectLst/>
                <a:latin typeface="Söhne"/>
              </a:rPr>
              <a:t>Sla de </a:t>
            </a:r>
            <a:r>
              <a:rPr lang="nl-NL" sz="1600" b="0" i="0" dirty="0" err="1">
                <a:effectLst/>
                <a:latin typeface="Söhne"/>
              </a:rPr>
              <a:t>ifc</a:t>
            </a:r>
            <a:r>
              <a:rPr lang="nl-NL" sz="1600" b="0" i="0" dirty="0">
                <a:effectLst/>
                <a:latin typeface="Söhne"/>
              </a:rPr>
              <a:t> die je naar </a:t>
            </a:r>
            <a:r>
              <a:rPr lang="nl-NL" sz="1600" b="0" i="0" dirty="0" err="1">
                <a:effectLst/>
                <a:latin typeface="Söhne"/>
              </a:rPr>
              <a:t>rdf</a:t>
            </a:r>
            <a:r>
              <a:rPr lang="nl-NL" sz="1600" b="0" i="0" dirty="0">
                <a:effectLst/>
                <a:latin typeface="Söhne"/>
              </a:rPr>
              <a:t> wilt converteren op in je python map op dezelfde locatie waar je pytho</a:t>
            </a:r>
            <a:r>
              <a:rPr lang="nl-NL" sz="1600" dirty="0">
                <a:latin typeface="Söhne"/>
              </a:rPr>
              <a:t>n file staat</a:t>
            </a:r>
            <a:endParaRPr lang="nl-NL" sz="1600" b="0" i="0" dirty="0">
              <a:effectLst/>
              <a:latin typeface="Söhne"/>
            </a:endParaRPr>
          </a:p>
          <a:p>
            <a:pPr marL="342900" indent="-342900" algn="l">
              <a:buAutoNum type="arabicPeriod"/>
            </a:pPr>
            <a:r>
              <a:rPr lang="nl-NL" sz="1600" dirty="0">
                <a:latin typeface="Söhne"/>
              </a:rPr>
              <a:t>Vul de naam in van het </a:t>
            </a:r>
            <a:r>
              <a:rPr lang="nl-NL" sz="1600" dirty="0" err="1">
                <a:latin typeface="Söhne"/>
              </a:rPr>
              <a:t>ifc</a:t>
            </a:r>
            <a:r>
              <a:rPr lang="nl-NL" sz="1600" dirty="0">
                <a:latin typeface="Söhne"/>
              </a:rPr>
              <a:t> bestand dat je wilt converteren zoals weergegeven in regel 28. (Met het gebruik van een # zorg je ervoor dat de tekst die er staat als ‘notitie’ wordt gezien en dan wordt de file niet uitgelezen. In dit voorbeeld wordt bijvoorbeeld regel 27 niet uitgelezen, maar regel 28 wel).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r>
              <a:rPr lang="nl-NL" sz="1600" dirty="0" err="1">
                <a:latin typeface="Söhne"/>
              </a:rPr>
              <a:t>Scroll</a:t>
            </a:r>
            <a:r>
              <a:rPr lang="nl-NL" sz="1600" dirty="0">
                <a:latin typeface="Söhne"/>
              </a:rPr>
              <a:t> naar beneden in het script. Vul hier wederom de naam van het </a:t>
            </a:r>
            <a:r>
              <a:rPr lang="nl-NL" sz="1600" dirty="0" err="1">
                <a:latin typeface="Söhne"/>
              </a:rPr>
              <a:t>ifc</a:t>
            </a:r>
            <a:r>
              <a:rPr lang="nl-NL" sz="1600" dirty="0">
                <a:latin typeface="Söhne"/>
              </a:rPr>
              <a:t> bestand in. LET OP: als je een map hebt aangemaakt in je python omgeving waarin de </a:t>
            </a:r>
            <a:r>
              <a:rPr lang="nl-NL" sz="1600" dirty="0" err="1">
                <a:latin typeface="Söhne"/>
              </a:rPr>
              <a:t>ifc</a:t>
            </a:r>
            <a:r>
              <a:rPr lang="nl-NL" sz="1600" dirty="0">
                <a:latin typeface="Söhne"/>
              </a:rPr>
              <a:t> file staat opgeslagen. Zet dan de naam van de map ervoor met \\ erachter (in voorbeeld heet de map files).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9" name="Afbeelding 8">
            <a:extLst>
              <a:ext uri="{FF2B5EF4-FFF2-40B4-BE49-F238E27FC236}">
                <a16:creationId xmlns:a16="http://schemas.microsoft.com/office/drawing/2014/main" id="{F65BD104-FD2F-33A8-9B81-D248B375F723}"/>
              </a:ext>
            </a:extLst>
          </p:cNvPr>
          <p:cNvPicPr>
            <a:picLocks noChangeAspect="1"/>
          </p:cNvPicPr>
          <p:nvPr/>
        </p:nvPicPr>
        <p:blipFill>
          <a:blip r:embed="rId4"/>
          <a:stretch>
            <a:fillRect/>
          </a:stretch>
        </p:blipFill>
        <p:spPr>
          <a:xfrm>
            <a:off x="1134254" y="4566849"/>
            <a:ext cx="8229372" cy="1766581"/>
          </a:xfrm>
          <a:prstGeom prst="rect">
            <a:avLst/>
          </a:prstGeom>
        </p:spPr>
      </p:pic>
      <p:cxnSp>
        <p:nvCxnSpPr>
          <p:cNvPr id="8" name="Rechte verbindingslijn met pijl 7">
            <a:extLst>
              <a:ext uri="{FF2B5EF4-FFF2-40B4-BE49-F238E27FC236}">
                <a16:creationId xmlns:a16="http://schemas.microsoft.com/office/drawing/2014/main" id="{BEAD868B-576A-6680-5F06-321FB4765679}"/>
              </a:ext>
            </a:extLst>
          </p:cNvPr>
          <p:cNvCxnSpPr/>
          <p:nvPr/>
        </p:nvCxnSpPr>
        <p:spPr>
          <a:xfrm flipH="1">
            <a:off x="3909526" y="5131837"/>
            <a:ext cx="1017037"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93514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vak 10">
            <a:extLst>
              <a:ext uri="{FF2B5EF4-FFF2-40B4-BE49-F238E27FC236}">
                <a16:creationId xmlns:a16="http://schemas.microsoft.com/office/drawing/2014/main" id="{A1EE8646-823E-BAE2-5DB9-6A84A4650D75}"/>
              </a:ext>
            </a:extLst>
          </p:cNvPr>
          <p:cNvSpPr txBox="1"/>
          <p:nvPr/>
        </p:nvSpPr>
        <p:spPr>
          <a:xfrm>
            <a:off x="772887" y="1323280"/>
            <a:ext cx="10797071" cy="830997"/>
          </a:xfrm>
          <a:prstGeom prst="rect">
            <a:avLst/>
          </a:prstGeom>
          <a:noFill/>
        </p:spPr>
        <p:txBody>
          <a:bodyPr wrap="square">
            <a:spAutoFit/>
          </a:bodyPr>
          <a:lstStyle/>
          <a:p>
            <a:pPr algn="l"/>
            <a:r>
              <a:rPr lang="nl-NL" sz="1600" b="0" i="0" dirty="0">
                <a:effectLst/>
                <a:latin typeface="Söhne"/>
              </a:rPr>
              <a:t>Voorbeeld mappen structuur</a:t>
            </a:r>
          </a:p>
          <a:p>
            <a:pPr algn="l"/>
            <a:r>
              <a:rPr lang="nl-NL" sz="1600" dirty="0">
                <a:latin typeface="Söhne"/>
              </a:rPr>
              <a:t>Let op: je kunt via bestandnaamextensies controleren of de naam er goed instaat (bijv. niet </a:t>
            </a:r>
            <a:r>
              <a:rPr lang="nl-NL" sz="1600" dirty="0" err="1">
                <a:latin typeface="Söhne"/>
              </a:rPr>
              <a:t>ifc.ifc</a:t>
            </a:r>
            <a:r>
              <a:rPr lang="nl-NL" sz="1600" dirty="0">
                <a:latin typeface="Söhne"/>
              </a:rPr>
              <a:t>. Is achter de bestandsnaam)</a:t>
            </a:r>
          </a:p>
          <a:p>
            <a:pPr marL="342900" indent="-342900" algn="l">
              <a:buAutoNum type="arabicPeriod"/>
            </a:pPr>
            <a:endParaRPr lang="nl-NL" sz="1600" dirty="0">
              <a:latin typeface="Söhne"/>
            </a:endParaRP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8" name="Afbeelding 7">
            <a:extLst>
              <a:ext uri="{FF2B5EF4-FFF2-40B4-BE49-F238E27FC236}">
                <a16:creationId xmlns:a16="http://schemas.microsoft.com/office/drawing/2014/main" id="{892EE3BE-62D1-41DB-38E2-C95AC4B8618A}"/>
              </a:ext>
            </a:extLst>
          </p:cNvPr>
          <p:cNvPicPr>
            <a:picLocks noChangeAspect="1"/>
          </p:cNvPicPr>
          <p:nvPr/>
        </p:nvPicPr>
        <p:blipFill>
          <a:blip r:embed="rId3"/>
          <a:stretch>
            <a:fillRect/>
          </a:stretch>
        </p:blipFill>
        <p:spPr>
          <a:xfrm>
            <a:off x="946828" y="1947551"/>
            <a:ext cx="7413304" cy="2142294"/>
          </a:xfrm>
          <a:prstGeom prst="rect">
            <a:avLst/>
          </a:prstGeom>
        </p:spPr>
      </p:pic>
      <p:sp>
        <p:nvSpPr>
          <p:cNvPr id="14" name="Titel 1">
            <a:extLst>
              <a:ext uri="{FF2B5EF4-FFF2-40B4-BE49-F238E27FC236}">
                <a16:creationId xmlns:a16="http://schemas.microsoft.com/office/drawing/2014/main" id="{24A03EFF-44DB-60C6-6D92-730352C840AC}"/>
              </a:ext>
            </a:extLst>
          </p:cNvPr>
          <p:cNvSpPr txBox="1">
            <a:spLocks/>
          </p:cNvSpPr>
          <p:nvPr/>
        </p:nvSpPr>
        <p:spPr>
          <a:xfrm>
            <a:off x="946828" y="699009"/>
            <a:ext cx="9471025" cy="601788"/>
          </a:xfrm>
          <a:prstGeom prst="rect">
            <a:avLst/>
          </a:prstGeom>
        </p:spPr>
        <p:txBody>
          <a:bodyPr vert="horz" lIns="0"/>
          <a:lstStyle>
            <a:lvl1pPr algn="l" defTabSz="685800" rtl="0" eaLnBrk="1" latinLnBrk="0" hangingPunct="1">
              <a:lnSpc>
                <a:spcPct val="90000"/>
              </a:lnSpc>
              <a:spcBef>
                <a:spcPct val="0"/>
              </a:spcBef>
              <a:buNone/>
              <a:defRPr sz="2800" b="1" kern="1200">
                <a:solidFill>
                  <a:schemeClr val="accent1"/>
                </a:solidFill>
                <a:latin typeface="+mj-lt"/>
                <a:ea typeface="+mj-ea"/>
                <a:cs typeface="+mj-cs"/>
              </a:defRPr>
            </a:lvl1pPr>
          </a:lstStyle>
          <a:p>
            <a:r>
              <a:rPr lang="nl-NL" dirty="0"/>
              <a:t>Converteer IFC-LBD (RDF)</a:t>
            </a:r>
          </a:p>
        </p:txBody>
      </p:sp>
      <p:pic>
        <p:nvPicPr>
          <p:cNvPr id="4" name="Afbeelding 3">
            <a:extLst>
              <a:ext uri="{FF2B5EF4-FFF2-40B4-BE49-F238E27FC236}">
                <a16:creationId xmlns:a16="http://schemas.microsoft.com/office/drawing/2014/main" id="{46FE3529-9CF8-12EE-EC6F-0C38435F1BB4}"/>
              </a:ext>
            </a:extLst>
          </p:cNvPr>
          <p:cNvPicPr>
            <a:picLocks noChangeAspect="1"/>
          </p:cNvPicPr>
          <p:nvPr/>
        </p:nvPicPr>
        <p:blipFill>
          <a:blip r:embed="rId4"/>
          <a:stretch>
            <a:fillRect/>
          </a:stretch>
        </p:blipFill>
        <p:spPr>
          <a:xfrm>
            <a:off x="946828" y="4149590"/>
            <a:ext cx="8997817" cy="1565721"/>
          </a:xfrm>
          <a:prstGeom prst="rect">
            <a:avLst/>
          </a:prstGeom>
        </p:spPr>
      </p:pic>
      <p:sp>
        <p:nvSpPr>
          <p:cNvPr id="5" name="Ovaal 4">
            <a:extLst>
              <a:ext uri="{FF2B5EF4-FFF2-40B4-BE49-F238E27FC236}">
                <a16:creationId xmlns:a16="http://schemas.microsoft.com/office/drawing/2014/main" id="{CC932780-DE6C-E63A-1123-39EAE08774A7}"/>
              </a:ext>
            </a:extLst>
          </p:cNvPr>
          <p:cNvSpPr/>
          <p:nvPr/>
        </p:nvSpPr>
        <p:spPr>
          <a:xfrm>
            <a:off x="6438122" y="4372103"/>
            <a:ext cx="1250302" cy="419877"/>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Ovaal 5">
            <a:extLst>
              <a:ext uri="{FF2B5EF4-FFF2-40B4-BE49-F238E27FC236}">
                <a16:creationId xmlns:a16="http://schemas.microsoft.com/office/drawing/2014/main" id="{038E8A4E-A160-901A-EF6C-D964EFD0DC44}"/>
              </a:ext>
            </a:extLst>
          </p:cNvPr>
          <p:cNvSpPr/>
          <p:nvPr/>
        </p:nvSpPr>
        <p:spPr>
          <a:xfrm>
            <a:off x="1828799" y="4236382"/>
            <a:ext cx="609600" cy="271442"/>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Afbeelding 8">
            <a:extLst>
              <a:ext uri="{FF2B5EF4-FFF2-40B4-BE49-F238E27FC236}">
                <a16:creationId xmlns:a16="http://schemas.microsoft.com/office/drawing/2014/main" id="{A062F11C-8166-5C6D-831C-734A6EF57AC9}"/>
              </a:ext>
            </a:extLst>
          </p:cNvPr>
          <p:cNvPicPr>
            <a:picLocks noChangeAspect="1"/>
          </p:cNvPicPr>
          <p:nvPr/>
        </p:nvPicPr>
        <p:blipFill rotWithShape="1">
          <a:blip r:embed="rId5"/>
          <a:srcRect l="9642" t="4205" r="6657"/>
          <a:stretch/>
        </p:blipFill>
        <p:spPr>
          <a:xfrm>
            <a:off x="10067731" y="4559853"/>
            <a:ext cx="1782146" cy="594406"/>
          </a:xfrm>
          <a:prstGeom prst="rect">
            <a:avLst/>
          </a:prstGeom>
        </p:spPr>
      </p:pic>
      <p:cxnSp>
        <p:nvCxnSpPr>
          <p:cNvPr id="12" name="Rechte verbindingslijn met pijl 11">
            <a:extLst>
              <a:ext uri="{FF2B5EF4-FFF2-40B4-BE49-F238E27FC236}">
                <a16:creationId xmlns:a16="http://schemas.microsoft.com/office/drawing/2014/main" id="{E49864D5-A015-CC86-8B8C-00A22610E285}"/>
              </a:ext>
            </a:extLst>
          </p:cNvPr>
          <p:cNvCxnSpPr/>
          <p:nvPr/>
        </p:nvCxnSpPr>
        <p:spPr>
          <a:xfrm>
            <a:off x="2230016" y="3051110"/>
            <a:ext cx="895739"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157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verteer IFC-LBD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4031873"/>
          </a:xfrm>
          <a:prstGeom prst="rect">
            <a:avLst/>
          </a:prstGeom>
          <a:noFill/>
        </p:spPr>
        <p:txBody>
          <a:bodyPr wrap="square">
            <a:spAutoFit/>
          </a:bodyPr>
          <a:lstStyle/>
          <a:p>
            <a:pPr marL="342900" indent="-342900" algn="l">
              <a:buAutoNum type="arabicPeriod"/>
            </a:pPr>
            <a:r>
              <a:rPr lang="nl-NL" sz="1600" b="0" i="0" dirty="0">
                <a:effectLst/>
                <a:latin typeface="Söhne"/>
              </a:rPr>
              <a:t>Run de code als de namen zijn ingevuld.</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b="0" i="0" dirty="0">
                <a:effectLst/>
                <a:latin typeface="Söhne"/>
              </a:rPr>
              <a:t>De omgezette </a:t>
            </a:r>
            <a:r>
              <a:rPr lang="nl-NL" sz="1600" b="0" i="0" dirty="0" err="1">
                <a:effectLst/>
                <a:latin typeface="Söhne"/>
              </a:rPr>
              <a:t>ttl</a:t>
            </a:r>
            <a:r>
              <a:rPr lang="nl-NL" sz="1600" b="0" i="0" dirty="0">
                <a:effectLst/>
                <a:latin typeface="Söhne"/>
              </a:rPr>
              <a:t> file (RDF) zal in dezelfde map verschijnen als waarin je IFC was opgeslagen.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6" name="Afbeelding 5">
            <a:extLst>
              <a:ext uri="{FF2B5EF4-FFF2-40B4-BE49-F238E27FC236}">
                <a16:creationId xmlns:a16="http://schemas.microsoft.com/office/drawing/2014/main" id="{CCA3C442-7958-81D9-6135-FDA57A71CFEE}"/>
              </a:ext>
            </a:extLst>
          </p:cNvPr>
          <p:cNvPicPr>
            <a:picLocks noChangeAspect="1"/>
          </p:cNvPicPr>
          <p:nvPr/>
        </p:nvPicPr>
        <p:blipFill>
          <a:blip r:embed="rId3"/>
          <a:stretch>
            <a:fillRect/>
          </a:stretch>
        </p:blipFill>
        <p:spPr>
          <a:xfrm>
            <a:off x="772888" y="1861889"/>
            <a:ext cx="8577943" cy="2221864"/>
          </a:xfrm>
          <a:prstGeom prst="rect">
            <a:avLst/>
          </a:prstGeom>
        </p:spPr>
      </p:pic>
      <p:cxnSp>
        <p:nvCxnSpPr>
          <p:cNvPr id="10" name="Rechte verbindingslijn met pijl 9">
            <a:extLst>
              <a:ext uri="{FF2B5EF4-FFF2-40B4-BE49-F238E27FC236}">
                <a16:creationId xmlns:a16="http://schemas.microsoft.com/office/drawing/2014/main" id="{75B2F871-1274-4D39-B5AD-389FDCE58C5D}"/>
              </a:ext>
            </a:extLst>
          </p:cNvPr>
          <p:cNvCxnSpPr>
            <a:cxnSpLocks/>
          </p:cNvCxnSpPr>
          <p:nvPr/>
        </p:nvCxnSpPr>
        <p:spPr>
          <a:xfrm>
            <a:off x="8719457" y="1491343"/>
            <a:ext cx="0" cy="642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4B31C844-8014-279F-8970-83BB119EC1C8}"/>
              </a:ext>
            </a:extLst>
          </p:cNvPr>
          <p:cNvCxnSpPr/>
          <p:nvPr/>
        </p:nvCxnSpPr>
        <p:spPr>
          <a:xfrm flipH="1">
            <a:off x="4626429" y="1491343"/>
            <a:ext cx="409302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85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2.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651</Words>
  <Application>Microsoft Office PowerPoint</Application>
  <PresentationFormat>Breedbeeld</PresentationFormat>
  <Paragraphs>407</Paragraphs>
  <Slides>32</Slides>
  <Notes>21</Notes>
  <HiddenSlides>0</HiddenSlides>
  <MMClips>0</MMClips>
  <ScaleCrop>false</ScaleCrop>
  <HeadingPairs>
    <vt:vector size="8" baseType="variant">
      <vt:variant>
        <vt:lpstr>Gebruikte lettertypen</vt:lpstr>
      </vt:variant>
      <vt:variant>
        <vt:i4>6</vt:i4>
      </vt:variant>
      <vt:variant>
        <vt:lpstr>Thema</vt:lpstr>
      </vt:variant>
      <vt:variant>
        <vt:i4>1</vt:i4>
      </vt:variant>
      <vt:variant>
        <vt:lpstr>Ingesloten OLE-bronprogramma's</vt:lpstr>
      </vt:variant>
      <vt:variant>
        <vt:i4>1</vt:i4>
      </vt:variant>
      <vt:variant>
        <vt:lpstr>Diatitels</vt:lpstr>
      </vt:variant>
      <vt:variant>
        <vt:i4>32</vt:i4>
      </vt:variant>
    </vt:vector>
  </HeadingPairs>
  <TitlesOfParts>
    <vt:vector size="40" baseType="lpstr">
      <vt:lpstr>Arial</vt:lpstr>
      <vt:lpstr>Calibri</vt:lpstr>
      <vt:lpstr>Consolas</vt:lpstr>
      <vt:lpstr>Söhne</vt:lpstr>
      <vt:lpstr>Wingdings</vt:lpstr>
      <vt:lpstr>YouTube Noto</vt:lpstr>
      <vt:lpstr>BAM 2019</vt:lpstr>
      <vt:lpstr>think-cell Slide</vt:lpstr>
      <vt:lpstr>PowerPoint-presentatie</vt:lpstr>
      <vt:lpstr>De achterliggende stappen</vt:lpstr>
      <vt:lpstr>De achterliggende stappen</vt:lpstr>
      <vt:lpstr>Oefenen</vt:lpstr>
      <vt:lpstr>Downloads</vt:lpstr>
      <vt:lpstr>Downloads</vt:lpstr>
      <vt:lpstr>Converteer IFC-LBD (RDF)</vt:lpstr>
      <vt:lpstr>PowerPoint-presentatie</vt:lpstr>
      <vt:lpstr>Converteer IFC-LBD (RDF)</vt:lpstr>
      <vt:lpstr>Controleer de RDF</vt:lpstr>
      <vt:lpstr>Controleer de RDF</vt:lpstr>
      <vt:lpstr>Verschillende datatype en uitleg</vt:lpstr>
      <vt:lpstr>Controleer de RDF</vt:lpstr>
      <vt:lpstr>Valideer het RDF</vt:lpstr>
      <vt:lpstr>Valideer het RDF</vt:lpstr>
      <vt:lpstr>Valideer het RDF</vt:lpstr>
      <vt:lpstr>Valideer het RDF</vt:lpstr>
      <vt:lpstr>Voorbeeld classes en properties</vt:lpstr>
      <vt:lpstr>Het uitlezen van het validatierapport</vt:lpstr>
      <vt:lpstr>Voorbeelden foutmeldingen</vt:lpstr>
      <vt:lpstr>Voorbeelden foutmeldingen</vt:lpstr>
      <vt:lpstr>Voorbeelden foutmeldingen</vt:lpstr>
      <vt:lpstr>Let op! </vt:lpstr>
      <vt:lpstr>Download GraphDB</vt:lpstr>
      <vt:lpstr>Het maken van queries</vt:lpstr>
      <vt:lpstr>Let op!</vt:lpstr>
      <vt:lpstr>SHACL</vt:lpstr>
      <vt:lpstr>SHACL</vt:lpstr>
      <vt:lpstr>SHACL</vt:lpstr>
      <vt:lpstr>SHACL</vt:lpstr>
      <vt:lpstr>SHACL</vt:lpstr>
      <vt:lpstr>Succes met het kennis maken van het validatiepro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dc:creator>
  <cp:keywords/>
  <cp:lastModifiedBy>Bosma, Janneke</cp:lastModifiedBy>
  <cp:revision>9</cp:revision>
  <dcterms:created xsi:type="dcterms:W3CDTF">2023-11-15T15:21:24Z</dcterms:created>
  <dcterms:modified xsi:type="dcterms:W3CDTF">2024-05-03T07:3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